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3" r:id="rId4"/>
    <p:sldMasterId id="2147483781" r:id="rId5"/>
    <p:sldMasterId id="2147483810" r:id="rId6"/>
  </p:sldMasterIdLst>
  <p:notesMasterIdLst>
    <p:notesMasterId r:id="rId35"/>
  </p:notesMasterIdLst>
  <p:handoutMasterIdLst>
    <p:handoutMasterId r:id="rId36"/>
  </p:handoutMasterIdLst>
  <p:sldIdLst>
    <p:sldId id="2145708274" r:id="rId7"/>
    <p:sldId id="2147478637" r:id="rId8"/>
    <p:sldId id="2147478641" r:id="rId9"/>
    <p:sldId id="2147478693" r:id="rId10"/>
    <p:sldId id="2147478672" r:id="rId11"/>
    <p:sldId id="2147478673" r:id="rId12"/>
    <p:sldId id="2147483549" r:id="rId13"/>
    <p:sldId id="2069" r:id="rId14"/>
    <p:sldId id="2147483550" r:id="rId15"/>
    <p:sldId id="2147478643" r:id="rId16"/>
    <p:sldId id="2147478677" r:id="rId17"/>
    <p:sldId id="2147478675" r:id="rId18"/>
    <p:sldId id="2147478676" r:id="rId19"/>
    <p:sldId id="2147478680" r:id="rId20"/>
    <p:sldId id="2147470862" r:id="rId21"/>
    <p:sldId id="2147478663" r:id="rId22"/>
    <p:sldId id="2147470868" r:id="rId23"/>
    <p:sldId id="2147478683" r:id="rId24"/>
    <p:sldId id="2147478684" r:id="rId25"/>
    <p:sldId id="2147483554" r:id="rId26"/>
    <p:sldId id="2147478685" r:id="rId27"/>
    <p:sldId id="2147483556" r:id="rId28"/>
    <p:sldId id="2147483555" r:id="rId29"/>
    <p:sldId id="2147478647" r:id="rId30"/>
    <p:sldId id="2147476912" r:id="rId31"/>
    <p:sldId id="2147483552" r:id="rId32"/>
    <p:sldId id="2147483551" r:id="rId33"/>
    <p:sldId id="2147478688" r:id="rId34"/>
  </p:sldIdLst>
  <p:sldSz cx="12195175" cy="6858000"/>
  <p:notesSz cx="6858000" cy="91440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1"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5DE5900-077B-570A-CE44-F1BDCA1223A9}" name="Navon, Ohad" initials="NO" userId="S::ohad.navon@sap.com::82fd883d-317b-401c-aacc-9314bc59b319" providerId="AD"/>
  <p188:author id="{CCF3511D-2FC1-7BDE-DF4F-DD56D5F55869}" name="Stadler, Thorben" initials="TS" userId="S::thorben.stadler@sap.com::d4ce2464-a8f3-47d2-9fb8-85255591218d" providerId="AD"/>
  <p188:author id="{E8197B1E-1248-DFE9-5ADA-49806BDFFD88}" name="Menahem, Tamir" initials="MT" userId="S::tamir.menahem@sap.com::e9dddf95-d1f9-4e05-8fc6-35dcc54ea4ff" providerId="AD"/>
  <p188:author id="{D721822B-A3CF-92AC-ED8D-031B4A71284A}" name="Kumar, Santosh" initials="" userId="S::santosh.kumar09@sap.com::c8e1c9b7-3c0d-48d1-b2e9-ed498f1c75ec" providerId="AD"/>
  <p188:author id="{DCDFE430-5E31-C9D1-B296-238C06008F19}" name=" Benjamin Heilbrunn" initials="MSOffice" userId=" Benjamin Heilbrunn" providerId="None"/>
  <p188:author id="{F374CD68-527F-F5D6-D835-F1E10D5FBDDA}" name="Koren, Raya" initials="KR" userId="S::raya.koren@sap.com::6973c296-f360-4425-b99a-1d6f0c19ae22" providerId="AD"/>
  <p188:author id="{4340308F-C219-8E6D-F416-49F8B6D5EB96}" name="Heilbrunn, Benjamin" initials="HB" userId="S::benjamin.heilbrunn@sap.com::4d100ba4-bace-4ead-90e0-41bc4ca5e3a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Ziegler, Carsten" initials="ZC" lastIdx="6" clrIdx="6">
    <p:extLst>
      <p:ext uri="{19B8F6BF-5375-455C-9EA6-DF929625EA0E}">
        <p15:presenceInfo xmlns:p15="http://schemas.microsoft.com/office/powerpoint/2012/main" userId="S::c.ziegler@sap.com::ea715f96-e256-4a32-b313-ba2236ada0f7" providerId="AD"/>
      </p:ext>
    </p:extLst>
  </p:cmAuthor>
  <p:cmAuthor id="1" name="Wilhelm, Florian" initials="WF" lastIdx="24" clrIdx="0">
    <p:extLst>
      <p:ext uri="{19B8F6BF-5375-455C-9EA6-DF929625EA0E}">
        <p15:presenceInfo xmlns:p15="http://schemas.microsoft.com/office/powerpoint/2012/main" userId="S::florian.wilhelm02@sap.com::10e15297-a8e4-4164-9841-d81341bb17a5" providerId="AD"/>
      </p:ext>
    </p:extLst>
  </p:cmAuthor>
  <p:cmAuthor id="2" name="Kurzynski, Daniel" initials="KD" lastIdx="39" clrIdx="1">
    <p:extLst>
      <p:ext uri="{19B8F6BF-5375-455C-9EA6-DF929625EA0E}">
        <p15:presenceInfo xmlns:p15="http://schemas.microsoft.com/office/powerpoint/2012/main" userId="S::daniel.kurzynski@sap.com::5b7fa6c3-1f8a-4731-8eab-7aa35f8124dc" providerId="AD"/>
      </p:ext>
    </p:extLst>
  </p:cmAuthor>
  <p:cmAuthor id="3" name="Hudemann, Kevin" initials="HK" lastIdx="4" clrIdx="2">
    <p:extLst>
      <p:ext uri="{19B8F6BF-5375-455C-9EA6-DF929625EA0E}">
        <p15:presenceInfo xmlns:p15="http://schemas.microsoft.com/office/powerpoint/2012/main" userId="S::kevin.hudemann@sap.com::c0e14aa8-930e-4834-ad46-a6203e8888a6" providerId="AD"/>
      </p:ext>
    </p:extLst>
  </p:cmAuthor>
  <p:cmAuthor id="4" name="Assmus, Stephan" initials="AS" lastIdx="14" clrIdx="3">
    <p:extLst>
      <p:ext uri="{19B8F6BF-5375-455C-9EA6-DF929625EA0E}">
        <p15:presenceInfo xmlns:p15="http://schemas.microsoft.com/office/powerpoint/2012/main" userId="S::stephan.assmus@sap.com::4889ceaa-bdce-429e-a5b5-155a5b324457" providerId="AD"/>
      </p:ext>
    </p:extLst>
  </p:cmAuthor>
  <p:cmAuthor id="5" name="Fiedler, Falk" initials="FF" lastIdx="2" clrIdx="4">
    <p:extLst>
      <p:ext uri="{19B8F6BF-5375-455C-9EA6-DF929625EA0E}">
        <p15:presenceInfo xmlns:p15="http://schemas.microsoft.com/office/powerpoint/2012/main" userId="S::falk.fiedler@sap.com::2577c08f-0237-497c-9c53-50acd1938d8e" providerId="AD"/>
      </p:ext>
    </p:extLst>
  </p:cmAuthor>
  <p:cmAuthor id="6" name="Heilbrunn, Benjamin" initials="HB" lastIdx="2" clrIdx="5">
    <p:extLst>
      <p:ext uri="{19B8F6BF-5375-455C-9EA6-DF929625EA0E}">
        <p15:presenceInfo xmlns:p15="http://schemas.microsoft.com/office/powerpoint/2012/main" userId="S::benjamin.heilbrunn@sap.com::4d100ba4-bace-4ead-90e0-41bc4ca5e3a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FD3"/>
    <a:srgbClr val="35A41C"/>
    <a:srgbClr val="05954A"/>
    <a:srgbClr val="999999"/>
    <a:srgbClr val="E9FBE1"/>
    <a:srgbClr val="D3F6C2"/>
    <a:srgbClr val="2F528F"/>
    <a:srgbClr val="7FC7E9"/>
    <a:srgbClr val="DEEBF7"/>
    <a:srgbClr val="008E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36D24A9-6E87-4B44-91F2-6C0B0B9C377A}" v="104" dt="2025-05-06T11:59:10.682"/>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varScale="1">
        <p:scale>
          <a:sx n="121" d="100"/>
          <a:sy n="121" d="100"/>
        </p:scale>
        <p:origin x="744" y="176"/>
      </p:cViewPr>
      <p:guideLst>
        <p:guide pos="3841"/>
        <p:guide orient="horz" pos="216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21" Type="http://schemas.openxmlformats.org/officeDocument/2006/relationships/slide" Target="slides/slide15.xml"/><Relationship Id="rId34" Type="http://schemas.openxmlformats.org/officeDocument/2006/relationships/slide" Target="slides/slide28.xml"/><Relationship Id="rId42"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 Id="rId43" Type="http://schemas.microsoft.com/office/2018/10/relationships/authors" Target="author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wiki.one.int.sap/wiki/display/unifiedgw/DDOS+Protection+in+UGW" TargetMode="External"/><Relationship Id="rId3" Type="http://schemas.openxmlformats.org/officeDocument/2006/relationships/hyperlink" Target="https://learn.microsoft.com/en-us/azure/ddos-protection/ddos-protection-overview" TargetMode="External"/><Relationship Id="rId7" Type="http://schemas.openxmlformats.org/officeDocument/2006/relationships/hyperlink" Target="https://workzone.one.int.sap/site#workzone-home&amp;/groups/rfjLPU42pSuICiflCl7pMp/workpage_tabs/E2JAstTDlMyKeH4KecGOOx"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wiki.one.int.sap/wiki/display/SAPMS/DDos+Protection" TargetMode="External"/><Relationship Id="rId5" Type="http://schemas.openxmlformats.org/officeDocument/2006/relationships/hyperlink" Target="https://docs.aws.amazon.com/waf/latest/developerguide/ddos-overview.html" TargetMode="External"/><Relationship Id="rId4" Type="http://schemas.openxmlformats.org/officeDocument/2006/relationships/hyperlink" Target="https://cloud.google.com/armor/docs/armor-enterprise-overview" TargetMode="External"/><Relationship Id="rId9" Type="http://schemas.openxmlformats.org/officeDocument/2006/relationships/hyperlink" Target="https://github.tools.sap/I310688/ugw-idps/blob/main/README.md"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en-US" smtClean="0"/>
              <a:pPr/>
              <a:t>1</a:t>
            </a:fld>
            <a:endParaRPr lang="en-US"/>
          </a:p>
        </p:txBody>
      </p:sp>
    </p:spTree>
    <p:extLst>
      <p:ext uri="{BB962C8B-B14F-4D97-AF65-F5344CB8AC3E}">
        <p14:creationId xmlns:p14="http://schemas.microsoft.com/office/powerpoint/2010/main" val="10297469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0000" indent="-180000">
              <a:buFont typeface="Arial" panose="020B0604020202020204" pitchFamily="34" charset="0"/>
              <a:buChar char="•"/>
            </a:pPr>
            <a:r>
              <a:rPr lang="en-US"/>
              <a:t>CSD L1: *.[product].cloud.sap – crm.cloud.sap </a:t>
            </a:r>
          </a:p>
          <a:p>
            <a:pPr marL="180000" indent="-180000">
              <a:buFont typeface="Arial" panose="020B0604020202020204" pitchFamily="34" charset="0"/>
              <a:buChar char="•"/>
            </a:pPr>
            <a:r>
              <a:rPr lang="en-US"/>
              <a:t>CSD L2: [opt-prefix].[product].[tenant].[common-suffix] – api.s4hana.mycorp.cust.cloud.sap</a:t>
            </a:r>
          </a:p>
          <a:p>
            <a:pPr marL="180000" indent="-180000">
              <a:buFont typeface="Arial" panose="020B0604020202020204" pitchFamily="34" charset="0"/>
              <a:buChar char="•"/>
            </a:pPr>
            <a:r>
              <a:rPr lang="en-US"/>
              <a:t>CSD L3: [opt-prefix].[product].[customer-suffix] – api.s4hana.mycorp.de</a:t>
            </a:r>
            <a:endParaRPr lang="en-IL"/>
          </a:p>
        </p:txBody>
      </p:sp>
      <p:sp>
        <p:nvSpPr>
          <p:cNvPr id="4" name="Slide Number Placeholder 3"/>
          <p:cNvSpPr>
            <a:spLocks noGrp="1"/>
          </p:cNvSpPr>
          <p:nvPr>
            <p:ph type="sldNum" sz="quarter" idx="5"/>
          </p:nvPr>
        </p:nvSpPr>
        <p:spPr/>
        <p:txBody>
          <a:bodyPr/>
          <a:lstStyle/>
          <a:p>
            <a:fld id="{7D8C2C35-2B8A-446E-BEC0-FD36716C29AC}" type="slidenum">
              <a:rPr lang="de-DE" smtClean="0"/>
              <a:pPr/>
              <a:t>16</a:t>
            </a:fld>
            <a:endParaRPr lang="de-DE"/>
          </a:p>
        </p:txBody>
      </p:sp>
    </p:spTree>
    <p:extLst>
      <p:ext uri="{BB962C8B-B14F-4D97-AF65-F5344CB8AC3E}">
        <p14:creationId xmlns:p14="http://schemas.microsoft.com/office/powerpoint/2010/main" val="3655975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0000" indent="-180000">
              <a:buFont typeface="Arial" panose="020B0604020202020204" pitchFamily="34" charset="0"/>
              <a:buChar char="•"/>
            </a:pPr>
            <a:r>
              <a:rPr lang="en-US"/>
              <a:t>https://github.tools.sap/CPA/api-guidelines/blob/main/docs/rest-guideline/06-http-protocol-binding.md#rate-limiting</a:t>
            </a:r>
          </a:p>
          <a:p>
            <a:pPr marL="180000" indent="-180000">
              <a:buFont typeface="Arial" panose="020B0604020202020204" pitchFamily="34" charset="0"/>
              <a:buChar char="•"/>
            </a:pPr>
            <a:r>
              <a:rPr lang="en-US"/>
              <a:t>Future: App Log and Audit Log via OctoRoute</a:t>
            </a:r>
            <a:endParaRPr lang="en-IL"/>
          </a:p>
        </p:txBody>
      </p:sp>
      <p:sp>
        <p:nvSpPr>
          <p:cNvPr id="4" name="Slide Number Placeholder 3"/>
          <p:cNvSpPr>
            <a:spLocks noGrp="1"/>
          </p:cNvSpPr>
          <p:nvPr>
            <p:ph type="sldNum" sz="quarter" idx="5"/>
          </p:nvPr>
        </p:nvSpPr>
        <p:spPr/>
        <p:txBody>
          <a:bodyPr/>
          <a:lstStyle/>
          <a:p>
            <a:fld id="{7D8C2C35-2B8A-446E-BEC0-FD36716C29AC}" type="slidenum">
              <a:rPr lang="de-DE" smtClean="0"/>
              <a:pPr/>
              <a:t>17</a:t>
            </a:fld>
            <a:endParaRPr lang="de-DE"/>
          </a:p>
        </p:txBody>
      </p:sp>
    </p:spTree>
    <p:extLst>
      <p:ext uri="{BB962C8B-B14F-4D97-AF65-F5344CB8AC3E}">
        <p14:creationId xmlns:p14="http://schemas.microsoft.com/office/powerpoint/2010/main" val="8516382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0000" indent="-180000">
              <a:buFont typeface="Arial" panose="020B0604020202020204" pitchFamily="34" charset="0"/>
              <a:buChar char="•"/>
            </a:pPr>
            <a:endParaRPr lang="en-IL"/>
          </a:p>
        </p:txBody>
      </p:sp>
      <p:sp>
        <p:nvSpPr>
          <p:cNvPr id="4" name="Slide Number Placeholder 3"/>
          <p:cNvSpPr>
            <a:spLocks noGrp="1"/>
          </p:cNvSpPr>
          <p:nvPr>
            <p:ph type="sldNum" sz="quarter" idx="5"/>
          </p:nvPr>
        </p:nvSpPr>
        <p:spPr/>
        <p:txBody>
          <a:bodyPr/>
          <a:lstStyle/>
          <a:p>
            <a:fld id="{7D8C2C35-2B8A-446E-BEC0-FD36716C29AC}" type="slidenum">
              <a:rPr lang="de-DE" smtClean="0"/>
              <a:pPr/>
              <a:t>19</a:t>
            </a:fld>
            <a:endParaRPr lang="de-DE"/>
          </a:p>
        </p:txBody>
      </p:sp>
    </p:spTree>
    <p:extLst>
      <p:ext uri="{BB962C8B-B14F-4D97-AF65-F5344CB8AC3E}">
        <p14:creationId xmlns:p14="http://schemas.microsoft.com/office/powerpoint/2010/main" val="29245899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D777A3-9CB3-4563-8F9C-AEC7FF50563F}" type="slidenum">
              <a:rPr kumimoji="0" lang="en-I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I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438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3000"/>
              <a:t>Benjamin/Ohad</a:t>
            </a:r>
          </a:p>
          <a:p>
            <a:endParaRPr lang="en-US" sz="3000"/>
          </a:p>
          <a:p>
            <a:r>
              <a:rPr lang="en-US" sz="3000"/>
              <a:t>Co-deployment</a:t>
            </a:r>
          </a:p>
          <a:p>
            <a:pPr marL="457200" indent="-457200">
              <a:buFont typeface="Arial" panose="020B0604020202020204" pitchFamily="34" charset="0"/>
              <a:buChar char="•"/>
            </a:pPr>
            <a:r>
              <a:rPr lang="en-US" sz="3000"/>
              <a:t>4+1</a:t>
            </a:r>
          </a:p>
          <a:p>
            <a:pPr marL="457200" indent="-457200">
              <a:buFont typeface="Arial" panose="020B0604020202020204" pitchFamily="34" charset="0"/>
              <a:buChar char="•"/>
            </a:pPr>
            <a:r>
              <a:rPr lang="en-US" sz="3000"/>
              <a:t>Regulated market (</a:t>
            </a:r>
          </a:p>
          <a:p>
            <a:pPr marL="457200" indent="-457200">
              <a:buFont typeface="Arial" panose="020B0604020202020204" pitchFamily="34" charset="0"/>
              <a:buChar char="•"/>
            </a:pPr>
            <a:r>
              <a:rPr lang="en-US" sz="3000"/>
              <a:t>GovCloud</a:t>
            </a:r>
          </a:p>
          <a:p>
            <a:r>
              <a:rPr lang="en-US" sz="3000"/>
              <a:t>SAP Specific certifications (ISO, SOC, PCI, FIPS. etc.) </a:t>
            </a:r>
          </a:p>
          <a:p>
            <a:r>
              <a:rPr lang="en-US" sz="3000"/>
              <a:t>SAP Standards and TG complaint</a:t>
            </a:r>
          </a:p>
          <a:p>
            <a:r>
              <a:rPr lang="en-US" sz="3000"/>
              <a:t>LOB specific capabilities </a:t>
            </a:r>
          </a:p>
        </p:txBody>
      </p:sp>
      <p:sp>
        <p:nvSpPr>
          <p:cNvPr id="4" name="Slide Number Placeholder 3"/>
          <p:cNvSpPr>
            <a:spLocks noGrp="1"/>
          </p:cNvSpPr>
          <p:nvPr>
            <p:ph type="sldNum" sz="quarter" idx="5"/>
          </p:nvPr>
        </p:nvSpPr>
        <p:spPr/>
        <p:txBody>
          <a:bodyPr/>
          <a:lstStyle/>
          <a:p>
            <a:fld id="{7D8C2C35-2B8A-446E-BEC0-FD36716C29AC}" type="slidenum">
              <a:rPr lang="de-DE" smtClean="0"/>
              <a:pPr/>
              <a:t>3</a:t>
            </a:fld>
            <a:endParaRPr lang="de-DE"/>
          </a:p>
        </p:txBody>
      </p:sp>
    </p:spTree>
    <p:extLst>
      <p:ext uri="{BB962C8B-B14F-4D97-AF65-F5344CB8AC3E}">
        <p14:creationId xmlns:p14="http://schemas.microsoft.com/office/powerpoint/2010/main" val="21945999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68D2766-C49B-4C1A-9FEE-6F146754B02B}" type="slidenum">
              <a:rPr lang="en-US" smtClean="0"/>
              <a:t>5</a:t>
            </a:fld>
            <a:endParaRPr lang="en-US"/>
          </a:p>
        </p:txBody>
      </p:sp>
    </p:spTree>
    <p:extLst>
      <p:ext uri="{BB962C8B-B14F-4D97-AF65-F5344CB8AC3E}">
        <p14:creationId xmlns:p14="http://schemas.microsoft.com/office/powerpoint/2010/main" val="1976307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radual adoption by LOB</a:t>
            </a:r>
          </a:p>
        </p:txBody>
      </p:sp>
      <p:sp>
        <p:nvSpPr>
          <p:cNvPr id="4" name="Slide Number Placeholder 3"/>
          <p:cNvSpPr>
            <a:spLocks noGrp="1"/>
          </p:cNvSpPr>
          <p:nvPr>
            <p:ph type="sldNum" sz="quarter" idx="5"/>
          </p:nvPr>
        </p:nvSpPr>
        <p:spPr/>
        <p:txBody>
          <a:bodyPr/>
          <a:lstStyle/>
          <a:p>
            <a:fld id="{7D8C2C35-2B8A-446E-BEC0-FD36716C29AC}" type="slidenum">
              <a:rPr lang="de-DE" smtClean="0"/>
              <a:pPr/>
              <a:t>6</a:t>
            </a:fld>
            <a:endParaRPr lang="de-DE"/>
          </a:p>
        </p:txBody>
      </p:sp>
    </p:spTree>
    <p:extLst>
      <p:ext uri="{BB962C8B-B14F-4D97-AF65-F5344CB8AC3E}">
        <p14:creationId xmlns:p14="http://schemas.microsoft.com/office/powerpoint/2010/main" val="15641155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radual adoption by LOB</a:t>
            </a:r>
          </a:p>
        </p:txBody>
      </p:sp>
      <p:sp>
        <p:nvSpPr>
          <p:cNvPr id="4" name="Slide Number Placeholder 3"/>
          <p:cNvSpPr>
            <a:spLocks noGrp="1"/>
          </p:cNvSpPr>
          <p:nvPr>
            <p:ph type="sldNum" sz="quarter" idx="5"/>
          </p:nvPr>
        </p:nvSpPr>
        <p:spPr/>
        <p:txBody>
          <a:bodyPr/>
          <a:lstStyle/>
          <a:p>
            <a:fld id="{7D8C2C35-2B8A-446E-BEC0-FD36716C29AC}" type="slidenum">
              <a:rPr lang="de-DE" smtClean="0"/>
              <a:pPr/>
              <a:t>10</a:t>
            </a:fld>
            <a:endParaRPr lang="de-DE"/>
          </a:p>
        </p:txBody>
      </p:sp>
    </p:spTree>
    <p:extLst>
      <p:ext uri="{BB962C8B-B14F-4D97-AF65-F5344CB8AC3E}">
        <p14:creationId xmlns:p14="http://schemas.microsoft.com/office/powerpoint/2010/main" val="11151941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371D9B-FA47-EB04-B3EB-2B4D78E2E4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47E894-DC1F-FDF1-ECA5-20BC6659F1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F6FB88-D616-9EF9-004F-A370B4E08005}"/>
              </a:ext>
            </a:extLst>
          </p:cNvPr>
          <p:cNvSpPr>
            <a:spLocks noGrp="1"/>
          </p:cNvSpPr>
          <p:nvPr>
            <p:ph type="body" idx="1"/>
          </p:nvPr>
        </p:nvSpPr>
        <p:spPr/>
        <p:txBody>
          <a:bodyPr/>
          <a:lstStyle/>
          <a:p>
            <a:pPr marL="180000" indent="-180000">
              <a:buFont typeface="Arial" panose="020B0604020202020204" pitchFamily="34" charset="0"/>
              <a:buChar char="•"/>
            </a:pPr>
            <a:r>
              <a:rPr lang="en-US"/>
              <a:t>ATOM CFS: https://github.tools.sap/cfs/cfs-services</a:t>
            </a:r>
          </a:p>
          <a:p>
            <a:pPr marL="180000" indent="-180000">
              <a:buFont typeface="Arial" panose="020B0604020202020204" pitchFamily="34" charset="0"/>
              <a:buChar char="•"/>
            </a:pPr>
            <a:r>
              <a:rPr lang="en-US"/>
              <a:t>Unified Resource manager: https://github.tools.sap/cfs/cfs-services/tree/master/resource-manager</a:t>
            </a:r>
          </a:p>
          <a:p>
            <a:pPr marL="180000" indent="-180000">
              <a:buFont typeface="Arial" panose="020B0604020202020204" pitchFamily="34" charset="0"/>
              <a:buChar char="•"/>
            </a:pPr>
            <a:r>
              <a:rPr lang="en-US"/>
              <a:t>Shoot </a:t>
            </a:r>
            <a:r>
              <a:rPr lang="en-US" err="1"/>
              <a:t>Kublet</a:t>
            </a:r>
            <a:r>
              <a:rPr lang="en-US"/>
              <a:t>, Calico, Kube Proxy, Core DNS to Seed (Shoot) API Server</a:t>
            </a:r>
          </a:p>
          <a:p>
            <a:pPr marL="180000" indent="-180000">
              <a:buFont typeface="Arial" panose="020B0604020202020204" pitchFamily="34" charset="0"/>
              <a:buChar char="•"/>
            </a:pPr>
            <a:r>
              <a:rPr lang="en-US"/>
              <a:t>Seed (Shoot) API Server - VPN to Shoot (Pod, Nodes)</a:t>
            </a:r>
          </a:p>
          <a:p>
            <a:pPr marL="180000" indent="-180000">
              <a:buFont typeface="Arial" panose="020B0604020202020204" pitchFamily="34" charset="0"/>
              <a:buChar char="•"/>
            </a:pPr>
            <a:r>
              <a:rPr lang="en-US"/>
              <a:t>Declarative (desired state) – include asynchronous reconciliation</a:t>
            </a:r>
            <a:endParaRPr lang="en-IL"/>
          </a:p>
          <a:p>
            <a:pPr marL="180000" indent="-180000">
              <a:buFont typeface="Arial" panose="020B0604020202020204" pitchFamily="34" charset="0"/>
              <a:buChar char="•"/>
            </a:pPr>
            <a:endParaRPr lang="en-IL"/>
          </a:p>
        </p:txBody>
      </p:sp>
      <p:sp>
        <p:nvSpPr>
          <p:cNvPr id="4" name="Slide Number Placeholder 3">
            <a:extLst>
              <a:ext uri="{FF2B5EF4-FFF2-40B4-BE49-F238E27FC236}">
                <a16:creationId xmlns:a16="http://schemas.microsoft.com/office/drawing/2014/main" id="{9509748D-432E-0AD6-0EB4-EE27E3B44CD1}"/>
              </a:ext>
            </a:extLst>
          </p:cNvPr>
          <p:cNvSpPr>
            <a:spLocks noGrp="1"/>
          </p:cNvSpPr>
          <p:nvPr>
            <p:ph type="sldNum" sz="quarter" idx="5"/>
          </p:nvPr>
        </p:nvSpPr>
        <p:spPr/>
        <p:txBody>
          <a:bodyPr/>
          <a:lstStyle/>
          <a:p>
            <a:fld id="{7D8C2C35-2B8A-446E-BEC0-FD36716C29AC}" type="slidenum">
              <a:rPr lang="de-DE" smtClean="0"/>
              <a:pPr/>
              <a:t>12</a:t>
            </a:fld>
            <a:endParaRPr lang="de-DE"/>
          </a:p>
        </p:txBody>
      </p:sp>
    </p:spTree>
    <p:extLst>
      <p:ext uri="{BB962C8B-B14F-4D97-AF65-F5344CB8AC3E}">
        <p14:creationId xmlns:p14="http://schemas.microsoft.com/office/powerpoint/2010/main" val="39962052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A1B292-687E-8650-8A3D-84C2970B5D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380EB4-D4A1-388C-C6D2-05DFA51242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17C63F-E911-B825-E2B2-C68992C28F82}"/>
              </a:ext>
            </a:extLst>
          </p:cNvPr>
          <p:cNvSpPr>
            <a:spLocks noGrp="1"/>
          </p:cNvSpPr>
          <p:nvPr>
            <p:ph type="body" idx="1"/>
          </p:nvPr>
        </p:nvSpPr>
        <p:spPr/>
        <p:txBody>
          <a:bodyPr/>
          <a:lstStyle/>
          <a:p>
            <a:pPr marL="285750" marR="0" lvl="0" indent="-2857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EDP – Event Data Platform</a:t>
            </a:r>
          </a:p>
          <a:p>
            <a:pPr marL="285750" marR="0" lvl="0" indent="-2857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stio – </a:t>
            </a:r>
            <a:r>
              <a:rPr lang="en-US" err="1"/>
              <a:t>Plutono</a:t>
            </a:r>
            <a:r>
              <a:rPr lang="en-US"/>
              <a:t> (previously Grafana) access, URM </a:t>
            </a:r>
            <a:r>
              <a:rPr lang="en-US" err="1"/>
              <a:t>WebHook</a:t>
            </a:r>
            <a:r>
              <a:rPr lang="en-US"/>
              <a:t>, Fleet management</a:t>
            </a:r>
          </a:p>
          <a:p>
            <a:pPr marL="285750" marR="0" lvl="0" indent="-2857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err="1"/>
              <a:t>xDS</a:t>
            </a:r>
            <a:r>
              <a:rPr lang="en-US"/>
              <a:t> Dynamic Resource Discovery</a:t>
            </a:r>
            <a:endParaRPr lang="en-IL"/>
          </a:p>
          <a:p>
            <a:pPr marL="285750" indent="-285750">
              <a:buFont typeface="Arial" panose="020B0604020202020204" pitchFamily="34" charset="0"/>
              <a:buChar char="•"/>
            </a:pPr>
            <a:endParaRPr lang="en-IL"/>
          </a:p>
        </p:txBody>
      </p:sp>
      <p:sp>
        <p:nvSpPr>
          <p:cNvPr id="4" name="Slide Number Placeholder 3">
            <a:extLst>
              <a:ext uri="{FF2B5EF4-FFF2-40B4-BE49-F238E27FC236}">
                <a16:creationId xmlns:a16="http://schemas.microsoft.com/office/drawing/2014/main" id="{ACB8523C-7E81-EE1F-CC1C-F8408E010C0B}"/>
              </a:ext>
            </a:extLst>
          </p:cNvPr>
          <p:cNvSpPr>
            <a:spLocks noGrp="1"/>
          </p:cNvSpPr>
          <p:nvPr>
            <p:ph type="sldNum" sz="quarter" idx="5"/>
          </p:nvPr>
        </p:nvSpPr>
        <p:spPr/>
        <p:txBody>
          <a:bodyPr/>
          <a:lstStyle/>
          <a:p>
            <a:fld id="{7D8C2C35-2B8A-446E-BEC0-FD36716C29AC}" type="slidenum">
              <a:rPr lang="de-DE" smtClean="0"/>
              <a:pPr/>
              <a:t>13</a:t>
            </a:fld>
            <a:endParaRPr lang="de-DE"/>
          </a:p>
        </p:txBody>
      </p:sp>
    </p:spTree>
    <p:extLst>
      <p:ext uri="{BB962C8B-B14F-4D97-AF65-F5344CB8AC3E}">
        <p14:creationId xmlns:p14="http://schemas.microsoft.com/office/powerpoint/2010/main" val="38692914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4F26A0-4895-E5C1-7498-B5BA603DAD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5BB57A-9FA7-1DD2-9649-99407C225D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33379A-4290-94CC-7AB4-9D2C203B60B6}"/>
              </a:ext>
            </a:extLst>
          </p:cNvPr>
          <p:cNvSpPr>
            <a:spLocks noGrp="1"/>
          </p:cNvSpPr>
          <p:nvPr>
            <p:ph type="body" idx="1"/>
          </p:nvPr>
        </p:nvSpPr>
        <p:spPr/>
        <p:txBody>
          <a:bodyPr>
            <a:normAutofit fontScale="77500" lnSpcReduction="20000"/>
          </a:bodyPr>
          <a:lstStyle/>
          <a:p>
            <a:pPr marL="285750" indent="-285750">
              <a:buFont typeface="Arial" panose="020B0604020202020204" pitchFamily="34" charset="0"/>
              <a:buChar char="•"/>
            </a:pPr>
            <a:r>
              <a:rPr lang="en-US"/>
              <a:t>https://</a:t>
            </a:r>
            <a:r>
              <a:rPr lang="en-US" err="1"/>
              <a:t>pages.github.tools.sap</a:t>
            </a:r>
            <a:r>
              <a:rPr lang="en-US"/>
              <a:t>/unified-gateway/</a:t>
            </a:r>
            <a:r>
              <a:rPr lang="en-US" err="1"/>
              <a:t>main_features</a:t>
            </a:r>
            <a:r>
              <a:rPr lang="en-US"/>
              <a:t>/</a:t>
            </a:r>
            <a:r>
              <a:rPr lang="en-US" err="1"/>
              <a:t>header_manipulation</a:t>
            </a:r>
            <a:r>
              <a:rPr lang="en-US"/>
              <a:t>/</a:t>
            </a:r>
            <a:r>
              <a:rPr lang="en-US" err="1"/>
              <a:t>headers_manipulated_by_ugw</a:t>
            </a:r>
            <a:r>
              <a:rPr lang="en-US"/>
              <a:t> </a:t>
            </a:r>
          </a:p>
          <a:p>
            <a:pPr marL="285750" indent="-285750">
              <a:buFont typeface="Arial" panose="020B0604020202020204" pitchFamily="34" charset="0"/>
              <a:buChar char="•"/>
            </a:pPr>
            <a:r>
              <a:rPr lang="en-US"/>
              <a:t>DDoS paid plan guided by SAP Multicloud (</a:t>
            </a:r>
            <a:r>
              <a:rPr lang="en-US" b="0" i="0" u="none" strike="noStrike">
                <a:solidFill>
                  <a:srgbClr val="FF0000"/>
                </a:solidFill>
                <a:effectLst/>
                <a:latin typeface="Aptos" panose="020B0004020202020204" pitchFamily="34" charset="0"/>
              </a:rPr>
              <a:t>owner: Stephen Dobbins)</a:t>
            </a:r>
            <a:endParaRPr lang="en-US"/>
          </a:p>
          <a:p>
            <a:pPr marL="285750" indent="-285750" algn="l">
              <a:buFont typeface="Arial" panose="020B0604020202020204" pitchFamily="34" charset="0"/>
              <a:buChar char="•"/>
            </a:pPr>
            <a:r>
              <a:rPr lang="en-US" sz="1800" b="0" i="0" u="none" strike="noStrike">
                <a:solidFill>
                  <a:srgbClr val="212121"/>
                </a:solidFill>
                <a:effectLst/>
                <a:latin typeface="Calibri" panose="020F0502020204030204" pitchFamily="34" charset="0"/>
              </a:rPr>
              <a:t>Azure: </a:t>
            </a:r>
            <a:r>
              <a:rPr lang="en-US" sz="1800" b="0" i="0" u="sng" strike="noStrike">
                <a:solidFill>
                  <a:srgbClr val="954F72"/>
                </a:solidFill>
                <a:effectLst/>
                <a:latin typeface="Calibri" panose="020F0502020204030204" pitchFamily="34" charset="0"/>
                <a:hlinkClick r:id="rId3" tooltip="https://learn.microsoft.com/en-us/azure/ddos-protection/ddos-protection-overview"/>
              </a:rPr>
              <a:t>https://learn.microsoft.com/en-us/azure/ddos-protection/ddos-protection-overview</a:t>
            </a:r>
            <a:endParaRPr lang="en-US" sz="1800" b="0" i="0" u="none" strike="noStrike">
              <a:solidFill>
                <a:srgbClr val="212121"/>
              </a:solidFill>
              <a:effectLst/>
              <a:latin typeface="Calibri" panose="020F0502020204030204" pitchFamily="34" charset="0"/>
            </a:endParaRPr>
          </a:p>
          <a:p>
            <a:pPr marL="285750" indent="-285750" algn="l">
              <a:buFont typeface="Arial" panose="020B0604020202020204" pitchFamily="34" charset="0"/>
              <a:buChar char="•"/>
            </a:pPr>
            <a:r>
              <a:rPr lang="en-US" sz="1800" b="0" i="0" u="none" strike="noStrike">
                <a:solidFill>
                  <a:srgbClr val="212121"/>
                </a:solidFill>
                <a:effectLst/>
                <a:latin typeface="Calibri" panose="020F0502020204030204" pitchFamily="34" charset="0"/>
              </a:rPr>
              <a:t>GCP: </a:t>
            </a:r>
            <a:r>
              <a:rPr lang="en-US" sz="1800" b="0" i="0" u="sng" strike="noStrike">
                <a:solidFill>
                  <a:srgbClr val="954F72"/>
                </a:solidFill>
                <a:effectLst/>
                <a:latin typeface="Calibri" panose="020F0502020204030204" pitchFamily="34" charset="0"/>
                <a:hlinkClick r:id="rId4" tooltip="https://cloud.google.com/armor/docs/armor-enterprise-overview"/>
              </a:rPr>
              <a:t>https://cloud.google.com/armor/docs/armor-enterprise-overview</a:t>
            </a:r>
            <a:endParaRPr lang="en-US" sz="1800" b="0" i="0" u="none" strike="noStrike">
              <a:solidFill>
                <a:srgbClr val="212121"/>
              </a:solidFill>
              <a:effectLst/>
              <a:latin typeface="Calibri" panose="020F0502020204030204" pitchFamily="34" charset="0"/>
            </a:endParaRPr>
          </a:p>
          <a:p>
            <a:pPr marL="285750" indent="-285750" algn="l">
              <a:buFont typeface="Arial" panose="020B0604020202020204" pitchFamily="34" charset="0"/>
              <a:buChar char="•"/>
            </a:pPr>
            <a:r>
              <a:rPr lang="en-US" sz="1800" b="0" i="0" u="none" strike="noStrike">
                <a:solidFill>
                  <a:srgbClr val="212121"/>
                </a:solidFill>
                <a:effectLst/>
                <a:latin typeface="Calibri" panose="020F0502020204030204" pitchFamily="34" charset="0"/>
              </a:rPr>
              <a:t>AWS: </a:t>
            </a:r>
            <a:r>
              <a:rPr lang="en-US" sz="1800" b="0" i="0" u="sng" strike="noStrike">
                <a:solidFill>
                  <a:srgbClr val="954F72"/>
                </a:solidFill>
                <a:effectLst/>
                <a:latin typeface="Calibri" panose="020F0502020204030204" pitchFamily="34" charset="0"/>
                <a:hlinkClick r:id="rId5" tooltip="https://docs.aws.amazon.com/waf/latest/developerguide/ddos-overview.html"/>
              </a:rPr>
              <a:t>https://docs.aws.amazon.com/waf/latest/developerguide/ddos-overview.html</a:t>
            </a:r>
            <a:endParaRPr lang="en-US" sz="1800" b="0" i="0" u="sng" strike="noStrike">
              <a:solidFill>
                <a:srgbClr val="954F72"/>
              </a:solidFill>
              <a:effectLst/>
              <a:latin typeface="Calibri" panose="020F0502020204030204" pitchFamily="34" charset="0"/>
            </a:endParaRPr>
          </a:p>
          <a:p>
            <a:pPr marL="285750" indent="-285750" algn="l">
              <a:buFont typeface="Arial" panose="020B0604020202020204" pitchFamily="34" charset="0"/>
              <a:buChar char="•"/>
            </a:pPr>
            <a:r>
              <a:rPr lang="en-US" sz="1800" b="0" i="0" u="none" strike="noStrike">
                <a:solidFill>
                  <a:srgbClr val="212121"/>
                </a:solidFill>
                <a:effectLst/>
                <a:latin typeface="Calibri" panose="020F0502020204030204" pitchFamily="34" charset="0"/>
              </a:rPr>
              <a:t>DDoS: </a:t>
            </a:r>
            <a:r>
              <a:rPr lang="en-US" sz="1800" u="sng">
                <a:solidFill>
                  <a:srgbClr val="0563C1"/>
                </a:solidFill>
                <a:effectLst/>
                <a:latin typeface="Arial" panose="020B0604020202020204" pitchFamily="34" charset="0"/>
                <a:ea typeface="Calibri" panose="020F0502020204030204" pitchFamily="34" charset="0"/>
                <a:hlinkClick r:id="rId6"/>
              </a:rPr>
              <a:t>https://wiki.one.int.sap/wiki/display/SAPMS/DDos+Protection</a:t>
            </a:r>
            <a:r>
              <a:rPr lang="en-US" sz="1800">
                <a:effectLst/>
                <a:latin typeface="Arial" panose="020B0604020202020204" pitchFamily="34" charset="0"/>
                <a:ea typeface="Calibri" panose="020F0502020204030204" pitchFamily="34" charset="0"/>
              </a:rPr>
              <a:t>, </a:t>
            </a:r>
            <a:r>
              <a:rPr lang="en-US" sz="1800" u="sng">
                <a:solidFill>
                  <a:srgbClr val="0563C1"/>
                </a:solidFill>
                <a:effectLst/>
                <a:latin typeface="Arial" panose="020B0604020202020204" pitchFamily="34" charset="0"/>
                <a:ea typeface="Calibri" panose="020F0502020204030204" pitchFamily="34" charset="0"/>
                <a:hlinkClick r:id="rId7"/>
              </a:rPr>
              <a:t>https://workzone.one.int.sap/site#workzone-home&amp;/groups/rfjLPU42pSuICiflCl7pMp/workpage_tabs/E2JAstTDlMyKeH4KecGOOx</a:t>
            </a:r>
            <a:r>
              <a:rPr lang="en-US" sz="1800">
                <a:effectLst/>
                <a:latin typeface="Arial" panose="020B0604020202020204" pitchFamily="34" charset="0"/>
                <a:ea typeface="Calibri" panose="020F0502020204030204" pitchFamily="34" charset="0"/>
              </a:rPr>
              <a:t>, </a:t>
            </a:r>
            <a:r>
              <a:rPr lang="en-US" sz="1800" u="sng">
                <a:solidFill>
                  <a:srgbClr val="0563C1"/>
                </a:solidFill>
                <a:effectLst/>
                <a:latin typeface="Arial" panose="020B0604020202020204" pitchFamily="34" charset="0"/>
                <a:ea typeface="Calibri" panose="020F0502020204030204" pitchFamily="34" charset="0"/>
                <a:hlinkClick r:id="rId8"/>
              </a:rPr>
              <a:t>https://wiki.one.int.sap/wiki/display/unifiedgw/DDOS+Protection+in+UGW</a:t>
            </a:r>
            <a:endParaRPr lang="en-US" sz="1800" u="sng">
              <a:solidFill>
                <a:srgbClr val="0563C1"/>
              </a:solidFill>
              <a:effectLst/>
              <a:latin typeface="Arial" panose="020B0604020202020204" pitchFamily="34" charset="0"/>
              <a:ea typeface="Calibri" panose="020F0502020204030204" pitchFamily="34" charset="0"/>
            </a:endParaRPr>
          </a:p>
          <a:p>
            <a:pPr marL="285750" marR="0" lvl="0" indent="-2857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a:effectLst/>
                <a:latin typeface="Arial" panose="020B0604020202020204" pitchFamily="34" charset="0"/>
                <a:ea typeface="Calibri" panose="020F0502020204030204" pitchFamily="34" charset="0"/>
              </a:rPr>
              <a:t>Lack of IDPS (</a:t>
            </a:r>
            <a:r>
              <a:rPr lang="en-IL" sz="1800">
                <a:effectLst/>
                <a:latin typeface="Aptos" panose="020B0004020202020204" pitchFamily="34" charset="0"/>
                <a:ea typeface="Aptos" panose="020B0004020202020204" pitchFamily="34" charset="0"/>
                <a:cs typeface="Arial" panose="020B0604020202020204" pitchFamily="34" charset="0"/>
              </a:rPr>
              <a:t>Intrusion Detection or Prevention System)</a:t>
            </a:r>
            <a:r>
              <a:rPr lang="en-US" sz="1800">
                <a:effectLst/>
                <a:latin typeface="Arial" panose="020B0604020202020204" pitchFamily="34" charset="0"/>
                <a:ea typeface="Calibri" panose="020F0502020204030204" pitchFamily="34" charset="0"/>
              </a:rPr>
              <a:t>: </a:t>
            </a:r>
            <a:r>
              <a:rPr lang="en-IL" sz="1800" u="sng" kern="100">
                <a:solidFill>
                  <a:srgbClr val="467886"/>
                </a:solidFill>
                <a:effectLst/>
                <a:latin typeface="Aptos" panose="020B0004020202020204" pitchFamily="34" charset="0"/>
                <a:ea typeface="Aptos" panose="020B0004020202020204" pitchFamily="34" charset="0"/>
                <a:cs typeface="Arial" panose="020B0604020202020204" pitchFamily="34" charset="0"/>
                <a:hlinkClick r:id="rId9"/>
              </a:rPr>
              <a:t>https://github.tools.sap/I310688/ugw-idps/blob/main/README.md</a:t>
            </a:r>
            <a:r>
              <a:rPr lang="en-IL" sz="1800" kern="100">
                <a:effectLst/>
                <a:latin typeface="Aptos" panose="020B0004020202020204" pitchFamily="34" charset="0"/>
                <a:ea typeface="Aptos" panose="020B0004020202020204" pitchFamily="34" charset="0"/>
                <a:cs typeface="Arial" panose="020B0604020202020204" pitchFamily="34" charset="0"/>
              </a:rPr>
              <a:t> </a:t>
            </a:r>
            <a:endParaRPr lang="en-US" sz="1800">
              <a:effectLst/>
              <a:latin typeface="Arial" panose="020B0604020202020204" pitchFamily="34" charset="0"/>
              <a:ea typeface="Calibri" panose="020F0502020204030204" pitchFamily="34" charset="0"/>
            </a:endParaRPr>
          </a:p>
          <a:p>
            <a:pPr marL="645750" lvl="2" indent="-285750" algn="l">
              <a:buFont typeface="Arial" panose="020B0604020202020204" pitchFamily="34" charset="0"/>
              <a:buChar char="•"/>
            </a:pPr>
            <a:r>
              <a:rPr lang="en-US" sz="1600">
                <a:effectLst/>
                <a:latin typeface="Arial" panose="020B0604020202020204" pitchFamily="34" charset="0"/>
                <a:ea typeface="Calibri" panose="020F0502020204030204" pitchFamily="34" charset="0"/>
              </a:rPr>
              <a:t>Currently still not mandated by the current SAP Product Standards.</a:t>
            </a:r>
          </a:p>
          <a:p>
            <a:pPr marL="645750" lvl="2" indent="-285750" algn="l">
              <a:buFont typeface="Arial" panose="020B0604020202020204" pitchFamily="34" charset="0"/>
              <a:buChar char="•"/>
            </a:pPr>
            <a:r>
              <a:rPr lang="en-US" sz="1600">
                <a:effectLst/>
                <a:latin typeface="Arial" panose="020B0604020202020204" pitchFamily="34" charset="0"/>
                <a:ea typeface="Calibri" panose="020F0502020204030204" pitchFamily="34" charset="0"/>
              </a:rPr>
              <a:t>Not instead of LoB VPC.</a:t>
            </a:r>
          </a:p>
          <a:p>
            <a:pPr marL="645750" lvl="2" indent="-285750" algn="l">
              <a:buFont typeface="Arial" panose="020B0604020202020204" pitchFamily="34" charset="0"/>
              <a:buChar char="•"/>
            </a:pPr>
            <a:r>
              <a:rPr lang="en-US" sz="1600">
                <a:effectLst/>
                <a:latin typeface="Arial" panose="020B0604020202020204" pitchFamily="34" charset="0"/>
                <a:ea typeface="Calibri" panose="020F0502020204030204" pitchFamily="34" charset="0"/>
              </a:rPr>
              <a:t>Current UGW scope is HTTP level, which limits the utility of IDPS for its operational needs.</a:t>
            </a:r>
          </a:p>
          <a:p>
            <a:pPr marL="645750" lvl="2" indent="-285750" algn="l">
              <a:buFont typeface="Arial" panose="020B0604020202020204" pitchFamily="34" charset="0"/>
              <a:buChar char="•"/>
            </a:pPr>
            <a:r>
              <a:rPr lang="en-US" sz="1600">
                <a:effectLst/>
                <a:latin typeface="Arial" panose="020B0604020202020204" pitchFamily="34" charset="0"/>
                <a:ea typeface="Calibri" panose="020F0502020204030204" pitchFamily="34" charset="0"/>
              </a:rPr>
              <a:t>Challenges with IDPS integration regards the decrypted data on the network level that lowers the overall security effectiveness.</a:t>
            </a:r>
          </a:p>
          <a:p>
            <a:pPr marL="645750" lvl="2" indent="-285750" algn="l">
              <a:buFont typeface="Arial" panose="020B0604020202020204" pitchFamily="34" charset="0"/>
              <a:buChar char="•"/>
            </a:pPr>
            <a:r>
              <a:rPr lang="en-US" sz="1600">
                <a:effectLst/>
                <a:latin typeface="Arial" panose="020B0604020202020204" pitchFamily="34" charset="0"/>
                <a:ea typeface="Calibri" panose="020F0502020204030204" pitchFamily="34" charset="0"/>
              </a:rPr>
              <a:t>High cost due to the necessity of transferring all traffic from multiple disparate networks to a centralized collection point.</a:t>
            </a:r>
          </a:p>
          <a:p>
            <a:pPr marL="645750" lvl="2" indent="-285750" algn="l">
              <a:buFont typeface="Arial" panose="020B0604020202020204" pitchFamily="34" charset="0"/>
              <a:buChar char="•"/>
            </a:pPr>
            <a:r>
              <a:rPr lang="en-US" sz="1600">
                <a:effectLst/>
                <a:latin typeface="Arial" panose="020B0604020202020204" pitchFamily="34" charset="0"/>
                <a:ea typeface="Calibri" panose="020F0502020204030204" pitchFamily="34" charset="0"/>
              </a:rPr>
              <a:t>WAF as a Priority: a WAF can help potentially leveraging specialized signature rule sets to mitigate certain related risks.</a:t>
            </a:r>
            <a:endParaRPr lang="en-IL" sz="1600">
              <a:effectLst/>
              <a:latin typeface="Arial" panose="020B0604020202020204" pitchFamily="34" charset="0"/>
              <a:ea typeface="Calibri" panose="020F0502020204030204" pitchFamily="34" charset="0"/>
            </a:endParaRPr>
          </a:p>
        </p:txBody>
      </p:sp>
      <p:sp>
        <p:nvSpPr>
          <p:cNvPr id="4" name="Slide Number Placeholder 3">
            <a:extLst>
              <a:ext uri="{FF2B5EF4-FFF2-40B4-BE49-F238E27FC236}">
                <a16:creationId xmlns:a16="http://schemas.microsoft.com/office/drawing/2014/main" id="{984324D9-1B35-8CEC-C8D7-9D943FBCA6BF}"/>
              </a:ext>
            </a:extLst>
          </p:cNvPr>
          <p:cNvSpPr>
            <a:spLocks noGrp="1"/>
          </p:cNvSpPr>
          <p:nvPr>
            <p:ph type="sldNum" sz="quarter" idx="5"/>
          </p:nvPr>
        </p:nvSpPr>
        <p:spPr/>
        <p:txBody>
          <a:bodyPr/>
          <a:lstStyle/>
          <a:p>
            <a:fld id="{7D8C2C35-2B8A-446E-BEC0-FD36716C29AC}" type="slidenum">
              <a:rPr lang="de-DE" smtClean="0"/>
              <a:pPr/>
              <a:t>14</a:t>
            </a:fld>
            <a:endParaRPr lang="de-DE"/>
          </a:p>
        </p:txBody>
      </p:sp>
    </p:spTree>
    <p:extLst>
      <p:ext uri="{BB962C8B-B14F-4D97-AF65-F5344CB8AC3E}">
        <p14:creationId xmlns:p14="http://schemas.microsoft.com/office/powerpoint/2010/main" val="25026972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a:t>Availability SLA calculation: https://uptime.is</a:t>
            </a:r>
            <a:endParaRPr lang="en-IL"/>
          </a:p>
        </p:txBody>
      </p:sp>
      <p:sp>
        <p:nvSpPr>
          <p:cNvPr id="4" name="Slide Number Placeholder 3"/>
          <p:cNvSpPr>
            <a:spLocks noGrp="1"/>
          </p:cNvSpPr>
          <p:nvPr>
            <p:ph type="sldNum" sz="quarter" idx="5"/>
          </p:nvPr>
        </p:nvSpPr>
        <p:spPr/>
        <p:txBody>
          <a:bodyPr/>
          <a:lstStyle/>
          <a:p>
            <a:fld id="{7D8C2C35-2B8A-446E-BEC0-FD36716C29AC}" type="slidenum">
              <a:rPr lang="de-DE" smtClean="0"/>
              <a:pPr/>
              <a:t>15</a:t>
            </a:fld>
            <a:endParaRPr lang="de-DE"/>
          </a:p>
        </p:txBody>
      </p:sp>
    </p:spTree>
    <p:extLst>
      <p:ext uri="{BB962C8B-B14F-4D97-AF65-F5344CB8AC3E}">
        <p14:creationId xmlns:p14="http://schemas.microsoft.com/office/powerpoint/2010/main" val="26026461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5.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2.png"/><Relationship Id="rId7" Type="http://schemas.openxmlformats.org/officeDocument/2006/relationships/hyperlink" Target="https://www.youtube.com/user/SAP" TargetMode="External"/><Relationship Id="rId12" Type="http://schemas.openxmlformats.org/officeDocument/2006/relationships/image" Target="../media/image6.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5.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hyperlink" Target="https://www.linkedin.com/company/sap" TargetMode="External"/><Relationship Id="rId7" Type="http://schemas.openxmlformats.org/officeDocument/2006/relationships/hyperlink" Target="https://twitter.com/sap" TargetMode="External"/><Relationship Id="rId2" Type="http://schemas.openxmlformats.org/officeDocument/2006/relationships/hyperlink" Target="https://www.sap.com/registration/contact.html" TargetMode="External"/><Relationship Id="rId1" Type="http://schemas.openxmlformats.org/officeDocument/2006/relationships/slideMaster" Target="../slideMasters/slideMaster1.xml"/><Relationship Id="rId6" Type="http://schemas.openxmlformats.org/officeDocument/2006/relationships/image" Target="../media/image9.png"/><Relationship Id="rId11" Type="http://schemas.openxmlformats.org/officeDocument/2006/relationships/image" Target="../media/image7.png"/><Relationship Id="rId5" Type="http://schemas.openxmlformats.org/officeDocument/2006/relationships/hyperlink" Target="https://www.youtube.com/user/SAP" TargetMode="External"/><Relationship Id="rId10" Type="http://schemas.openxmlformats.org/officeDocument/2006/relationships/image" Target="../media/image11.png"/><Relationship Id="rId4" Type="http://schemas.openxmlformats.org/officeDocument/2006/relationships/image" Target="../media/image8.png"/><Relationship Id="rId9" Type="http://schemas.openxmlformats.org/officeDocument/2006/relationships/hyperlink" Target="https://www.facebook.com/SAP" TargetMode="Externa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hyperlink" Target="https://www.linkedin.com/company/sap" TargetMode="External"/><Relationship Id="rId7" Type="http://schemas.openxmlformats.org/officeDocument/2006/relationships/hyperlink" Target="https://twitter.com/sap" TargetMode="External"/><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1.xml"/><Relationship Id="rId6" Type="http://schemas.openxmlformats.org/officeDocument/2006/relationships/image" Target="../media/image9.png"/><Relationship Id="rId11" Type="http://schemas.openxmlformats.org/officeDocument/2006/relationships/image" Target="../media/image7.png"/><Relationship Id="rId5" Type="http://schemas.openxmlformats.org/officeDocument/2006/relationships/hyperlink" Target="https://www.youtube.com/user/SAP" TargetMode="External"/><Relationship Id="rId10" Type="http://schemas.openxmlformats.org/officeDocument/2006/relationships/image" Target="../media/image11.png"/><Relationship Id="rId4" Type="http://schemas.openxmlformats.org/officeDocument/2006/relationships/image" Target="../media/image8.png"/><Relationship Id="rId9" Type="http://schemas.openxmlformats.org/officeDocument/2006/relationships/hyperlink" Target="https://www.facebook.com/SAP" TargetMode="Externa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9950552" y="6217668"/>
            <a:ext cx="1963636" cy="360000"/>
          </a:xfrm>
          <a:prstGeom prst="rect">
            <a:avLst/>
          </a:prstGeom>
        </p:spPr>
      </p:pic>
      <p:sp>
        <p:nvSpPr>
          <p:cNvPr id="13" name="Classification"/>
          <p:cNvSpPr txBox="1"/>
          <p:nvPr userDrawn="1"/>
        </p:nvSpPr>
        <p:spPr>
          <a:xfrm>
            <a:off x="288000" y="6636358"/>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a:t>INTERNAL</a:t>
            </a:r>
          </a:p>
        </p:txBody>
      </p:sp>
      <p:sp>
        <p:nvSpPr>
          <p:cNvPr id="19" name="Speaker"/>
          <p:cNvSpPr>
            <a:spLocks noGrp="1"/>
          </p:cNvSpPr>
          <p:nvPr userDrawn="1">
            <p:ph type="subTitle" idx="1" hasCustomPrompt="1"/>
          </p:nvPr>
        </p:nvSpPr>
        <p:spPr bwMode="black">
          <a:xfrm>
            <a:off x="288000" y="5130489"/>
            <a:ext cx="11626188"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3" name="Title"/>
          <p:cNvSpPr>
            <a:spLocks noGrp="1"/>
          </p:cNvSpPr>
          <p:nvPr>
            <p:ph type="title" hasCustomPrompt="1"/>
          </p:nvPr>
        </p:nvSpPr>
        <p:spPr>
          <a:xfrm>
            <a:off x="288000" y="4024430"/>
            <a:ext cx="11626188"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3200"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24527176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505" userDrawn="1">
          <p15:clr>
            <a:srgbClr val="FBAE40"/>
          </p15:clr>
        </p15:guide>
        <p15:guide id="2" orient="horz" pos="4144" userDrawn="1">
          <p15:clr>
            <a:srgbClr val="FBAE40"/>
          </p15:clr>
        </p15:guide>
        <p15:guide id="3" orient="horz" pos="2162" userDrawn="1">
          <p15:clr>
            <a:srgbClr val="FBAE40"/>
          </p15:clr>
        </p15:guide>
        <p15:guide id="4" pos="181" userDrawn="1">
          <p15:clr>
            <a:srgbClr val="FBAE40"/>
          </p15:clr>
        </p15:guide>
        <p15:guide id="5" orient="horz" pos="2534" userDrawn="1">
          <p15:clr>
            <a:srgbClr val="FBAE40"/>
          </p15:clr>
        </p15:guide>
        <p15:guide id="6" orient="horz" pos="3181" userDrawn="1">
          <p15:clr>
            <a:srgbClr val="FBAE40"/>
          </p15:clr>
        </p15:guide>
        <p15:guide id="7" orient="horz" pos="3232" userDrawn="1">
          <p15:clr>
            <a:srgbClr val="FBAE40"/>
          </p15:clr>
        </p15:guide>
        <p15:guide id="8" orient="horz" pos="3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102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Device Mockup - Page Title 11">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DC30AC0-F60B-48F3-AF96-3C76B04353FE}"/>
              </a:ext>
            </a:extLst>
          </p:cNvPr>
          <p:cNvSpPr>
            <a:spLocks noGrp="1"/>
          </p:cNvSpPr>
          <p:nvPr>
            <p:ph type="pic" sz="quarter" idx="10" hasCustomPrompt="1"/>
          </p:nvPr>
        </p:nvSpPr>
        <p:spPr>
          <a:xfrm>
            <a:off x="1361801" y="2264311"/>
            <a:ext cx="4654491" cy="3060044"/>
          </a:xfrm>
          <a:prstGeom prst="rect">
            <a:avLst/>
          </a:prstGeom>
          <a:pattFill prst="wdDnDiag">
            <a:fgClr>
              <a:schemeClr val="tx1">
                <a:lumMod val="25000"/>
                <a:lumOff val="75000"/>
              </a:schemeClr>
            </a:fgClr>
            <a:bgClr>
              <a:schemeClr val="bg1"/>
            </a:bgClr>
          </a:pattFill>
        </p:spPr>
        <p:txBody>
          <a:bodyPr anchor="ctr"/>
          <a:lstStyle>
            <a:lvl1pPr marL="0" indent="0" algn="ctr">
              <a:buNone/>
              <a:defRPr b="0" i="0">
                <a:solidFill>
                  <a:schemeClr val="tx1"/>
                </a:solidFill>
                <a:latin typeface="72" panose="020B0503030000000003" pitchFamily="34" charset="0"/>
              </a:defRPr>
            </a:lvl1pPr>
          </a:lstStyle>
          <a:p>
            <a:r>
              <a:rPr lang="en-US"/>
              <a:t>Insert your image here</a:t>
            </a:r>
            <a:endParaRPr lang="en-MY"/>
          </a:p>
        </p:txBody>
      </p:sp>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419" y="371728"/>
            <a:ext cx="10518338" cy="886732"/>
          </a:xfrm>
          <a:prstGeom prst="rect">
            <a:avLst/>
          </a:prstGeom>
        </p:spPr>
        <p:txBody>
          <a:bodyPr anchor="ctr"/>
          <a:lstStyle>
            <a:lvl1pPr algn="ctr">
              <a:defRPr sz="3594" b="0" i="0">
                <a:solidFill>
                  <a:schemeClr val="tx1"/>
                </a:solidFill>
                <a:latin typeface="72" panose="020B0503030000000003" pitchFamily="34" charset="0"/>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397" y="1051062"/>
            <a:ext cx="9146381" cy="436562"/>
          </a:xfrm>
          <a:prstGeom prst="rect">
            <a:avLst/>
          </a:prstGeom>
        </p:spPr>
        <p:txBody>
          <a:bodyPr>
            <a:normAutofit/>
          </a:bodyPr>
          <a:lstStyle>
            <a:lvl1pPr marL="0" indent="0" algn="ctr">
              <a:buNone/>
              <a:defRPr sz="1794" b="0" i="0">
                <a:solidFill>
                  <a:schemeClr val="tx1"/>
                </a:solidFill>
                <a:latin typeface="72" panose="020B0503030000000003" pitchFamily="34" charset="0"/>
              </a:defRPr>
            </a:lvl1pPr>
            <a:lvl2pPr marL="456378" indent="0" algn="ctr">
              <a:buNone/>
              <a:defRPr sz="1994"/>
            </a:lvl2pPr>
            <a:lvl3pPr marL="912756" indent="0" algn="ctr">
              <a:buNone/>
              <a:defRPr sz="1794"/>
            </a:lvl3pPr>
            <a:lvl4pPr marL="1369134" indent="0" algn="ctr">
              <a:buNone/>
              <a:defRPr sz="1600"/>
            </a:lvl4pPr>
            <a:lvl5pPr marL="1825511" indent="0" algn="ctr">
              <a:buNone/>
              <a:defRPr sz="1600"/>
            </a:lvl5pPr>
            <a:lvl6pPr marL="2281888" indent="0" algn="ctr">
              <a:buNone/>
              <a:defRPr sz="1600"/>
            </a:lvl6pPr>
            <a:lvl7pPr marL="2738266" indent="0" algn="ctr">
              <a:buNone/>
              <a:defRPr sz="1600"/>
            </a:lvl7pPr>
            <a:lvl8pPr marL="3194643" indent="0" algn="ctr">
              <a:buNone/>
              <a:defRPr sz="1600"/>
            </a:lvl8pPr>
            <a:lvl9pPr marL="3651021" indent="0" algn="ctr">
              <a:buNone/>
              <a:defRPr sz="1600"/>
            </a:lvl9pPr>
          </a:lstStyle>
          <a:p>
            <a:r>
              <a:rPr lang="en-US"/>
              <a:t>Insert your awesome subtitle here</a:t>
            </a:r>
            <a:endParaRPr lang="en-MY"/>
          </a:p>
        </p:txBody>
      </p:sp>
      <p:sp>
        <p:nvSpPr>
          <p:cNvPr id="2" name="Slide Number Placeholder 1">
            <a:extLst>
              <a:ext uri="{FF2B5EF4-FFF2-40B4-BE49-F238E27FC236}">
                <a16:creationId xmlns:a16="http://schemas.microsoft.com/office/drawing/2014/main" id="{65AB5553-BCF8-5F2D-252C-C44C7459A5B7}"/>
              </a:ext>
            </a:extLst>
          </p:cNvPr>
          <p:cNvSpPr>
            <a:spLocks noGrp="1"/>
          </p:cNvSpPr>
          <p:nvPr>
            <p:ph type="sldNum" sz="quarter" idx="11"/>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109509773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1_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3">
                <a:solidFill>
                  <a:schemeClr val="tx1"/>
                </a:solidFill>
                <a:latin typeface="+mj-lt"/>
              </a:defRPr>
            </a:lvl1pPr>
          </a:lstStyle>
          <a:p>
            <a:r>
              <a:rPr lang="en-US"/>
              <a:t>Divider page</a:t>
            </a:r>
            <a:endParaRPr lang="de-DE"/>
          </a:p>
        </p:txBody>
      </p:sp>
      <p:sp>
        <p:nvSpPr>
          <p:cNvPr id="3" name="Slide Number Placeholder 2">
            <a:extLst>
              <a:ext uri="{FF2B5EF4-FFF2-40B4-BE49-F238E27FC236}">
                <a16:creationId xmlns:a16="http://schemas.microsoft.com/office/drawing/2014/main" id="{6A20C292-0968-D9FD-1F9D-8F4B08A1C204}"/>
              </a:ext>
            </a:extLst>
          </p:cNvPr>
          <p:cNvSpPr>
            <a:spLocks noGrp="1"/>
          </p:cNvSpPr>
          <p:nvPr>
            <p:ph type="sldNum" sz="quarter" idx="10"/>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15922265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399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2678" userDrawn="1">
          <p15:clr>
            <a:srgbClr val="FBAE40"/>
          </p15:clr>
        </p15:guide>
        <p15:guide id="6" orient="horz" pos="3004" userDrawn="1">
          <p15:clr>
            <a:srgbClr val="FBAE40"/>
          </p15:clr>
        </p15:guide>
        <p15:guide id="7" orient="horz" pos="3991"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1019" userDrawn="1">
          <p15:clr>
            <a:srgbClr val="FBAE40"/>
          </p15:clr>
        </p15:guide>
        <p15:guide id="10" orient="horz" pos="2428" userDrawn="1">
          <p15:clr>
            <a:srgbClr val="FBAE40"/>
          </p15:clr>
        </p15:guide>
        <p15:guide id="11" orient="horz" pos="2743" userDrawn="1">
          <p15:clr>
            <a:srgbClr val="FBAE40"/>
          </p15:clr>
        </p15:guide>
        <p15:guide id="12" orient="horz" pos="3991"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1" userDrawn="1">
          <p15:clr>
            <a:srgbClr val="FBAE40"/>
          </p15:clr>
        </p15:guide>
        <p15:guide id="5" orient="horz" pos="211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9" userDrawn="1">
          <p15:clr>
            <a:srgbClr val="FBAE40"/>
          </p15:clr>
        </p15:guide>
        <p15:guide id="5" orient="horz" pos="317" userDrawn="1">
          <p15:clr>
            <a:srgbClr val="FBAE40"/>
          </p15:clr>
        </p15:guide>
        <p15:guide id="6" orient="horz" pos="551" userDrawn="1">
          <p15:clr>
            <a:srgbClr val="FBAE40"/>
          </p15:clr>
        </p15:guide>
        <p15:guide id="7" orient="horz" pos="10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1"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552787710"/>
      </p:ext>
    </p:extLst>
  </p:cSld>
  <p:clrMapOvr>
    <a:masterClrMapping/>
  </p:clrMapOvr>
  <p:extLst>
    <p:ext uri="{DCECCB84-F9BA-43D5-87BE-67443E8EF086}">
      <p15:sldGuideLst xmlns:p15="http://schemas.microsoft.com/office/powerpoint/2012/main">
        <p15:guide id="1" pos="3841"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3538" userDrawn="1">
          <p15:clr>
            <a:srgbClr val="FBAE40"/>
          </p15:clr>
        </p15:guide>
        <p15:guide id="7" pos="31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41397911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a:t>INTERNAL</a:t>
            </a:r>
          </a:p>
        </p:txBody>
      </p:sp>
      <p:sp>
        <p:nvSpPr>
          <p:cNvPr id="6" name="Speaker"/>
          <p:cNvSpPr>
            <a:spLocks noGrp="1"/>
          </p:cNvSpPr>
          <p:nvPr userDrawn="1">
            <p:ph type="subTitle" idx="1" hasCustomPrompt="1"/>
          </p:nvPr>
        </p:nvSpPr>
        <p:spPr bwMode="black">
          <a:xfrm>
            <a:off x="287999" y="4268503"/>
            <a:ext cx="116280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4" name="Title 3"/>
          <p:cNvSpPr>
            <a:spLocks noGrp="1"/>
          </p:cNvSpPr>
          <p:nvPr>
            <p:ph type="title" hasCustomPrompt="1"/>
          </p:nvPr>
        </p:nvSpPr>
        <p:spPr>
          <a:xfrm>
            <a:off x="288000" y="2706317"/>
            <a:ext cx="11628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pic>
        <p:nvPicPr>
          <p:cNvPr id="11" name="SAP Logo" descr="SAP Logo" title="SAP Logo">
            <a:extLst>
              <a:ext uri="{FF2B5EF4-FFF2-40B4-BE49-F238E27FC236}">
                <a16:creationId xmlns:a16="http://schemas.microsoft.com/office/drawing/2014/main" id="{342503FE-3A2C-4E20-8BE4-DBDA5B3FD054}"/>
              </a:ext>
            </a:extLst>
          </p:cNvPr>
          <p:cNvPicPr>
            <a:picLocks noChangeAspect="1"/>
          </p:cNvPicPr>
          <p:nvPr userDrawn="1"/>
        </p:nvPicPr>
        <p:blipFill>
          <a:blip r:embed="rId2"/>
          <a:stretch>
            <a:fillRect/>
          </a:stretch>
        </p:blipFill>
        <p:spPr>
          <a:xfrm>
            <a:off x="9950552" y="6217668"/>
            <a:ext cx="1963636" cy="360000"/>
          </a:xfrm>
          <a:prstGeom prst="rect">
            <a:avLst/>
          </a:prstGeom>
        </p:spPr>
      </p:pic>
    </p:spTree>
    <p:extLst>
      <p:ext uri="{BB962C8B-B14F-4D97-AF65-F5344CB8AC3E}">
        <p14:creationId xmlns:p14="http://schemas.microsoft.com/office/powerpoint/2010/main" val="198241062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6" pos="7507"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a:t>Thank you.</a:t>
            </a:r>
            <a:endParaRPr lang="de-DE"/>
          </a:p>
        </p:txBody>
      </p:sp>
      <p:pic>
        <p:nvPicPr>
          <p:cNvPr id="5" name="SAP Logo" descr="SAP Logo" title="SAP Logo"/>
          <p:cNvPicPr>
            <a:picLocks noChangeAspect="1"/>
          </p:cNvPicPr>
          <p:nvPr userDrawn="1"/>
        </p:nvPicPr>
        <p:blipFill>
          <a:blip r:embed="rId2"/>
          <a:stretch>
            <a:fillRect/>
          </a:stretch>
        </p:blipFill>
        <p:spPr>
          <a:xfrm>
            <a:off x="9727200" y="5994000"/>
            <a:ext cx="1963636" cy="360000"/>
          </a:xfrm>
          <a:prstGeom prst="rect">
            <a:avLst/>
          </a:prstGeom>
        </p:spPr>
      </p:pic>
    </p:spTree>
    <p:extLst>
      <p:ext uri="{BB962C8B-B14F-4D97-AF65-F5344CB8AC3E}">
        <p14:creationId xmlns:p14="http://schemas.microsoft.com/office/powerpoint/2010/main" val="781090314"/>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userDrawn="1">
          <p15:clr>
            <a:srgbClr val="FBAE40"/>
          </p15:clr>
        </p15:guide>
        <p15:guide id="2" orient="horz" pos="924"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25" name="Copyright information English"/>
          <p:cNvSpPr txBox="1"/>
          <p:nvPr userDrawn="1"/>
        </p:nvSpPr>
        <p:spPr bwMode="black">
          <a:xfrm>
            <a:off x="50399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1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26"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3" name="Linkedin icon with link">
            <a:hlinkClick r:id="rId5"/>
          </p:cNvPr>
          <p:cNvPicPr>
            <a:picLocks noChangeAspect="1"/>
          </p:cNvPicPr>
          <p:nvPr userDrawn="1"/>
        </p:nvPicPr>
        <p:blipFill>
          <a:blip r:embed="rId6"/>
          <a:srcRect/>
          <a:stretch/>
        </p:blipFill>
        <p:spPr>
          <a:xfrm>
            <a:off x="2257487" y="1749959"/>
            <a:ext cx="361809" cy="361809"/>
          </a:xfrm>
          <a:prstGeom prst="rect">
            <a:avLst/>
          </a:prstGeom>
        </p:spPr>
      </p:pic>
      <p:pic>
        <p:nvPicPr>
          <p:cNvPr id="14" name="YouTube icon with link">
            <a:hlinkClick r:id="rId7"/>
          </p:cNvPr>
          <p:cNvPicPr>
            <a:picLocks noChangeAspect="1"/>
          </p:cNvPicPr>
          <p:nvPr userDrawn="1"/>
        </p:nvPicPr>
        <p:blipFill>
          <a:blip r:embed="rId8"/>
          <a:srcRect/>
          <a:stretch/>
        </p:blipFill>
        <p:spPr>
          <a:xfrm>
            <a:off x="1666951" y="1749063"/>
            <a:ext cx="363600" cy="363600"/>
          </a:xfrm>
          <a:prstGeom prst="rect">
            <a:avLst/>
          </a:prstGeom>
        </p:spPr>
      </p:pic>
      <p:pic>
        <p:nvPicPr>
          <p:cNvPr id="15" name="Twitter icon with link">
            <a:hlinkClick r:id="rId9" tooltip="https://twitter.com/sap"/>
          </p:cNvPr>
          <p:cNvPicPr>
            <a:picLocks noChangeAspect="1"/>
          </p:cNvPicPr>
          <p:nvPr userDrawn="1"/>
        </p:nvPicPr>
        <p:blipFill>
          <a:blip r:embed="rId10"/>
          <a:srcRect/>
          <a:stretch/>
        </p:blipFill>
        <p:spPr>
          <a:xfrm>
            <a:off x="1078206" y="1749959"/>
            <a:ext cx="361809" cy="361809"/>
          </a:xfrm>
          <a:prstGeom prst="rect">
            <a:avLst/>
          </a:prstGeom>
        </p:spPr>
      </p:pic>
      <p:pic>
        <p:nvPicPr>
          <p:cNvPr id="17" name="Facebook icon with link">
            <a:hlinkClick r:id="rId11"/>
          </p:cNvPr>
          <p:cNvPicPr>
            <a:picLocks noChangeAspect="1"/>
          </p:cNvPicPr>
          <p:nvPr userDrawn="1"/>
        </p:nvPicPr>
        <p:blipFill>
          <a:blip r:embed="rId12"/>
          <a:srcRect/>
          <a:stretch/>
        </p:blipFill>
        <p:spPr>
          <a:xfrm>
            <a:off x="487670" y="1749063"/>
            <a:ext cx="363600" cy="363600"/>
          </a:xfrm>
          <a:prstGeom prst="rect">
            <a:avLst/>
          </a:prstGeom>
        </p:spPr>
      </p:pic>
      <p:sp>
        <p:nvSpPr>
          <p:cNvPr id="32" name="Follow all of SAP"/>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4519251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6" name="Copyright information">
            <a:hlinkClick r:id="rId2"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a:stretch>
            <a:fillRect/>
          </a:stretch>
        </p:blipFill>
        <p:spPr>
          <a:xfrm>
            <a:off x="9725565" y="5994000"/>
            <a:ext cx="1963635" cy="360000"/>
          </a:xfrm>
          <a:prstGeom prst="rect">
            <a:avLst/>
          </a:prstGeom>
        </p:spPr>
      </p:pic>
      <p:sp>
        <p:nvSpPr>
          <p:cNvPr id="26"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0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de-DE" sz="800" kern="1200" noProof="0">
                <a:solidFill>
                  <a:schemeClr val="tx1"/>
                </a:solidFill>
                <a:effectLst/>
                <a:latin typeface="Arial"/>
                <a:ea typeface="+mn-ea"/>
                <a:cs typeface="+mn-cs"/>
                <a:hlinkClick r:id="rId4"/>
              </a:rPr>
              <a:t>www.sap.com/corporate/de/legal/copyright.html</a:t>
            </a:r>
            <a:r>
              <a:rPr lang="de-DE" sz="800" kern="1200" noProof="0">
                <a:solidFill>
                  <a:schemeClr val="tx1"/>
                </a:solidFill>
                <a:effectLst/>
                <a:latin typeface="Arial"/>
                <a:ea typeface="+mn-ea"/>
                <a:cs typeface="+mn-cs"/>
              </a:rPr>
              <a:t>.</a:t>
            </a:r>
          </a:p>
        </p:txBody>
      </p:sp>
      <p:sp>
        <p:nvSpPr>
          <p:cNvPr id="33"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pic>
        <p:nvPicPr>
          <p:cNvPr id="10" name="Linkedin icon with link">
            <a:hlinkClick r:id="rId5"/>
            <a:extLst>
              <a:ext uri="{FF2B5EF4-FFF2-40B4-BE49-F238E27FC236}">
                <a16:creationId xmlns:a16="http://schemas.microsoft.com/office/drawing/2014/main" id="{85F89319-632F-0948-93D3-22748C7AEB2B}"/>
              </a:ext>
            </a:extLst>
          </p:cNvPr>
          <p:cNvPicPr>
            <a:picLocks noChangeAspect="1"/>
          </p:cNvPicPr>
          <p:nvPr userDrawn="1"/>
        </p:nvPicPr>
        <p:blipFill>
          <a:blip r:embed="rId6"/>
          <a:srcRect/>
          <a:stretch/>
        </p:blipFill>
        <p:spPr>
          <a:xfrm>
            <a:off x="2257487" y="1749959"/>
            <a:ext cx="361809" cy="361809"/>
          </a:xfrm>
          <a:prstGeom prst="rect">
            <a:avLst/>
          </a:prstGeom>
        </p:spPr>
      </p:pic>
      <p:pic>
        <p:nvPicPr>
          <p:cNvPr id="11" name="YouTube icon with link">
            <a:hlinkClick r:id="rId7"/>
            <a:extLst>
              <a:ext uri="{FF2B5EF4-FFF2-40B4-BE49-F238E27FC236}">
                <a16:creationId xmlns:a16="http://schemas.microsoft.com/office/drawing/2014/main" id="{F652101B-0C93-7042-8B1B-BC53F9B8FD49}"/>
              </a:ext>
            </a:extLst>
          </p:cNvPr>
          <p:cNvPicPr>
            <a:picLocks noChangeAspect="1"/>
          </p:cNvPicPr>
          <p:nvPr userDrawn="1"/>
        </p:nvPicPr>
        <p:blipFill>
          <a:blip r:embed="rId8"/>
          <a:srcRect/>
          <a:stretch/>
        </p:blipFill>
        <p:spPr>
          <a:xfrm>
            <a:off x="1666951" y="1749063"/>
            <a:ext cx="363600" cy="363600"/>
          </a:xfrm>
          <a:prstGeom prst="rect">
            <a:avLst/>
          </a:prstGeom>
        </p:spPr>
      </p:pic>
      <p:pic>
        <p:nvPicPr>
          <p:cNvPr id="18" name="Twitter icon with link">
            <a:hlinkClick r:id="rId9" tooltip="https://twitter.com/sap"/>
            <a:extLst>
              <a:ext uri="{FF2B5EF4-FFF2-40B4-BE49-F238E27FC236}">
                <a16:creationId xmlns:a16="http://schemas.microsoft.com/office/drawing/2014/main" id="{C4D0E2F6-D2A3-A647-9191-866BE1AC5745}"/>
              </a:ext>
            </a:extLst>
          </p:cNvPr>
          <p:cNvPicPr>
            <a:picLocks noChangeAspect="1"/>
          </p:cNvPicPr>
          <p:nvPr userDrawn="1"/>
        </p:nvPicPr>
        <p:blipFill>
          <a:blip r:embed="rId10"/>
          <a:srcRect/>
          <a:stretch/>
        </p:blipFill>
        <p:spPr>
          <a:xfrm>
            <a:off x="1078206" y="1749959"/>
            <a:ext cx="361809" cy="361809"/>
          </a:xfrm>
          <a:prstGeom prst="rect">
            <a:avLst/>
          </a:prstGeom>
        </p:spPr>
      </p:pic>
      <p:pic>
        <p:nvPicPr>
          <p:cNvPr id="19" name="Facebook icon with link">
            <a:hlinkClick r:id="rId11"/>
            <a:extLst>
              <a:ext uri="{FF2B5EF4-FFF2-40B4-BE49-F238E27FC236}">
                <a16:creationId xmlns:a16="http://schemas.microsoft.com/office/drawing/2014/main" id="{18F69508-4786-4A46-BBD7-D0E8C1154C00}"/>
              </a:ext>
            </a:extLst>
          </p:cNvPr>
          <p:cNvPicPr>
            <a:picLocks noChangeAspect="1"/>
          </p:cNvPicPr>
          <p:nvPr userDrawn="1"/>
        </p:nvPicPr>
        <p:blipFill>
          <a:blip r:embed="rId12"/>
          <a:srcRect/>
          <a:stretch/>
        </p:blipFill>
        <p:spPr>
          <a:xfrm>
            <a:off x="487670" y="1749063"/>
            <a:ext cx="363600" cy="363600"/>
          </a:xfrm>
          <a:prstGeom prst="rect">
            <a:avLst/>
          </a:prstGeom>
        </p:spPr>
      </p:pic>
    </p:spTree>
    <p:extLst>
      <p:ext uri="{BB962C8B-B14F-4D97-AF65-F5344CB8AC3E}">
        <p14:creationId xmlns:p14="http://schemas.microsoft.com/office/powerpoint/2010/main" val="19118627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Cover with Image or Illustration">
    <p:bg>
      <p:bgRef idx="1001">
        <a:schemeClr val="bg1"/>
      </p:bgRef>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7451236-BF8E-934B-B7DE-1ADB8A004F3F}"/>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1000"/>
            </a:lvl1pPr>
          </a:lstStyle>
          <a:p>
            <a:r>
              <a:rPr lang="en-US"/>
              <a:t>Add </a:t>
            </a:r>
            <a:br>
              <a:rPr lang="en-US"/>
            </a:br>
            <a:r>
              <a:rPr lang="en-US"/>
              <a:t>partner logo</a:t>
            </a:r>
          </a:p>
        </p:txBody>
      </p:sp>
      <p:pic>
        <p:nvPicPr>
          <p:cNvPr id="546459206" name="Picture Placeholder 7" descr="{&quot;templafy&quot;:{&quot;id&quot;:&quot;fd12f489-e2f8-428a-b2e5-85fd0f3cb844&quot;}}"/>
          <p:cNvPicPr>
            <a:picLocks noChangeAspect="1"/>
          </p:cNvPicPr>
          <p:nvPr/>
        </p:nvPicPr>
        <p:blipFill>
          <a:blip r:embed="rId2"/>
          <a:stretch>
            <a:fillRect/>
          </a:stretch>
        </p:blipFill>
        <p:spPr>
          <a:xfrm>
            <a:off x="9948863" y="6218238"/>
            <a:ext cx="1963082" cy="365792"/>
          </a:xfrm>
          <a:prstGeom prst="rect">
            <a:avLst/>
          </a:prstGeom>
        </p:spPr>
      </p:pic>
      <p:sp>
        <p:nvSpPr>
          <p:cNvPr id="19" name="Speaker"/>
          <p:cNvSpPr>
            <a:spLocks noGrp="1"/>
          </p:cNvSpPr>
          <p:nvPr userDrawn="1">
            <p:ph type="subTitle" idx="1" hasCustomPrompt="1"/>
          </p:nvPr>
        </p:nvSpPr>
        <p:spPr bwMode="black">
          <a:xfrm>
            <a:off x="288000" y="5130489"/>
            <a:ext cx="10899174"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21</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Presentation Title </a:t>
            </a:r>
            <a:br>
              <a:rPr lang="en-US"/>
            </a:br>
            <a:r>
              <a:rPr lang="en-US"/>
              <a:t>Goes Here and Here.</a:t>
            </a:r>
          </a:p>
        </p:txBody>
      </p:sp>
      <p:sp>
        <p:nvSpPr>
          <p:cNvPr id="4" name="Picture Placeholder 3" descr="{&quot;templafy&quot;:{&quot;id&quot;:&quot;ade7ea36-b872-408c-8466-82db98a01d89&quot;}}" hidden="1">
            <a:extLst>
              <a:ext uri="{FF2B5EF4-FFF2-40B4-BE49-F238E27FC236}">
                <a16:creationId xmlns:a16="http://schemas.microsoft.com/office/drawing/2014/main" id="{9FAC5737-20CA-FB41-845A-A1D31183A0C5}"/>
              </a:ext>
            </a:extLst>
          </p:cNvPr>
          <p:cNvSpPr>
            <a:spLocks noGrp="1"/>
          </p:cNvSpPr>
          <p:nvPr>
            <p:ph type="pic" sz="quarter" idx="13" hasCustomPrompt="1"/>
          </p:nvPr>
        </p:nvSpPr>
        <p:spPr>
          <a:xfrm>
            <a:off x="282575" y="3564352"/>
            <a:ext cx="4116387" cy="252000"/>
          </a:xfrm>
        </p:spPr>
        <p:txBody>
          <a:bodyPr anchor="ctr" anchorCtr="0">
            <a:normAutofit/>
          </a:bodyPr>
          <a:lstStyle>
            <a:lvl1pPr>
              <a:defRPr sz="1400">
                <a:noFill/>
              </a:defRPr>
            </a:lvl1pPr>
          </a:lstStyle>
          <a:p>
            <a:r>
              <a:rPr lang="en-US"/>
              <a:t>China</a:t>
            </a:r>
          </a:p>
        </p:txBody>
      </p:sp>
      <p:sp>
        <p:nvSpPr>
          <p:cNvPr id="14" name="TextBox 13" descr="{&quot;templafy&quot;:{&quot;id&quot;:&quot;c07bc115-76d3-40a9-b585-86209276694b&quot;}}">
            <a:extLst>
              <a:ext uri="{FF2B5EF4-FFF2-40B4-BE49-F238E27FC236}">
                <a16:creationId xmlns:a16="http://schemas.microsoft.com/office/drawing/2014/main" id="{80EF9B3E-B19F-454A-8F82-6620827A3EBD}"/>
              </a:ext>
            </a:extLst>
          </p:cNvPr>
          <p:cNvSpPr txBox="1"/>
          <p:nvPr userDrawn="1"/>
        </p:nvSpPr>
        <p:spPr>
          <a:xfrm>
            <a:off x="282575" y="5725533"/>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5175" cy="3430800"/>
          </a:xfrm>
        </p:spPr>
        <p:txBody>
          <a:bodyPr/>
          <a:lstStyle/>
          <a:p>
            <a:endParaRPr lang="en-US"/>
          </a:p>
        </p:txBody>
      </p:sp>
    </p:spTree>
    <p:extLst>
      <p:ext uri="{BB962C8B-B14F-4D97-AF65-F5344CB8AC3E}">
        <p14:creationId xmlns:p14="http://schemas.microsoft.com/office/powerpoint/2010/main" val="271918812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Cover without Image">
    <p:bg>
      <p:bgRef idx="1001">
        <a:schemeClr val="bg1"/>
      </p:bgRef>
    </p:bg>
    <p:spTree>
      <p:nvGrpSpPr>
        <p:cNvPr id="1" name=""/>
        <p:cNvGrpSpPr/>
        <p:nvPr/>
      </p:nvGrpSpPr>
      <p:grpSpPr>
        <a:xfrm>
          <a:off x="0" y="0"/>
          <a:ext cx="0" cy="0"/>
          <a:chOff x="0" y="0"/>
          <a:chExt cx="0" cy="0"/>
        </a:xfrm>
      </p:grpSpPr>
      <p:sp>
        <p:nvSpPr>
          <p:cNvPr id="6" name="Speaker"/>
          <p:cNvSpPr>
            <a:spLocks noGrp="1"/>
          </p:cNvSpPr>
          <p:nvPr userDrawn="1">
            <p:ph type="subTitle" idx="1" hasCustomPrompt="1"/>
          </p:nvPr>
        </p:nvSpPr>
        <p:spPr bwMode="black">
          <a:xfrm>
            <a:off x="287999" y="4268503"/>
            <a:ext cx="109008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21</a:t>
            </a:r>
          </a:p>
        </p:txBody>
      </p:sp>
      <p:sp>
        <p:nvSpPr>
          <p:cNvPr id="4" name="Title 3"/>
          <p:cNvSpPr>
            <a:spLocks noGrp="1"/>
          </p:cNvSpPr>
          <p:nvPr>
            <p:ph type="title" hasCustomPrompt="1"/>
          </p:nvPr>
        </p:nvSpPr>
        <p:spPr>
          <a:xfrm>
            <a:off x="288000" y="2706317"/>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en-US" sz="3600" kern="0">
              <a:ea typeface="Arial Unicode MS" pitchFamily="34" charset="-128"/>
              <a:cs typeface="Arial Unicode MS" pitchFamily="34" charset="-128"/>
            </a:endParaRPr>
          </a:p>
        </p:txBody>
      </p:sp>
      <p:sp>
        <p:nvSpPr>
          <p:cNvPr id="7" name="Picture Placeholder 3" descr="{&quot;templafy&quot;:{&quot;id&quot;:&quot;149c8e1f-e7d8-4e85-a5ae-243b70a00281&quot;}}">
            <a:extLst>
              <a:ext uri="{FF2B5EF4-FFF2-40B4-BE49-F238E27FC236}">
                <a16:creationId xmlns:a16="http://schemas.microsoft.com/office/drawing/2014/main" id="{CE5F88BD-85A2-394E-9578-A1EF98CAB175}"/>
              </a:ext>
            </a:extLst>
          </p:cNvPr>
          <p:cNvSpPr>
            <a:spLocks noGrp="1"/>
          </p:cNvSpPr>
          <p:nvPr>
            <p:ph type="pic" sz="quarter" idx="13"/>
          </p:nvPr>
        </p:nvSpPr>
        <p:spPr>
          <a:xfrm>
            <a:off x="282575" y="2141327"/>
            <a:ext cx="4116387" cy="252000"/>
          </a:xfrm>
        </p:spPr>
        <p:txBody>
          <a:bodyPr anchor="ctr" anchorCtr="0">
            <a:normAutofit/>
          </a:bodyPr>
          <a:lstStyle>
            <a:lvl1pPr>
              <a:defRPr sz="1400">
                <a:noFill/>
              </a:defRPr>
            </a:lvl1pPr>
          </a:lstStyle>
          <a:p>
            <a:endParaRPr lang="en-US"/>
          </a:p>
        </p:txBody>
      </p:sp>
      <p:pic>
        <p:nvPicPr>
          <p:cNvPr id="1845796300" name="Picture Placeholder 7" descr="{&quot;templafy&quot;:{&quot;id&quot;:&quot;410562f8-5c0b-4160-8303-ecef6ef10197&quot;}}"/>
          <p:cNvPicPr>
            <a:picLocks noChangeAspect="1"/>
          </p:cNvPicPr>
          <p:nvPr/>
        </p:nvPicPr>
        <p:blipFill>
          <a:blip r:embed="rId2"/>
          <a:stretch>
            <a:fillRect/>
          </a:stretch>
        </p:blipFill>
        <p:spPr>
          <a:xfrm>
            <a:off x="9948863" y="6214204"/>
            <a:ext cx="1963082" cy="365792"/>
          </a:xfrm>
          <a:prstGeom prst="rect">
            <a:avLst/>
          </a:prstGeom>
        </p:spPr>
      </p:pic>
      <p:sp>
        <p:nvSpPr>
          <p:cNvPr id="11" name="Picture Placeholder 11">
            <a:extLst>
              <a:ext uri="{FF2B5EF4-FFF2-40B4-BE49-F238E27FC236}">
                <a16:creationId xmlns:a16="http://schemas.microsoft.com/office/drawing/2014/main" id="{4BAFBAA8-1F32-6947-8761-63569FECC550}"/>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1000"/>
            </a:lvl1pPr>
          </a:lstStyle>
          <a:p>
            <a:r>
              <a:rPr lang="en-US"/>
              <a:t>Add </a:t>
            </a:r>
            <a:br>
              <a:rPr lang="en-US"/>
            </a:br>
            <a:r>
              <a:rPr lang="en-US"/>
              <a:t>partner logo</a:t>
            </a:r>
          </a:p>
        </p:txBody>
      </p:sp>
      <p:sp>
        <p:nvSpPr>
          <p:cNvPr id="9" name="TextBox 8" descr="{&quot;templafy&quot;:{&quot;id&quot;:&quot;578517dc-42d1-4c9f-9420-8600dbb23b9a&quot;}}">
            <a:extLst>
              <a:ext uri="{FF2B5EF4-FFF2-40B4-BE49-F238E27FC236}">
                <a16:creationId xmlns:a16="http://schemas.microsoft.com/office/drawing/2014/main" id="{BE9416BF-9F7E-4E92-ACFE-0C3973770D42}"/>
              </a:ext>
            </a:extLst>
          </p:cNvPr>
          <p:cNvSpPr txBox="1"/>
          <p:nvPr userDrawn="1"/>
        </p:nvSpPr>
        <p:spPr>
          <a:xfrm>
            <a:off x="282575" y="5264380"/>
            <a:ext cx="6301873"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a:t>
            </a:r>
          </a:p>
        </p:txBody>
      </p:sp>
    </p:spTree>
    <p:extLst>
      <p:ext uri="{BB962C8B-B14F-4D97-AF65-F5344CB8AC3E}">
        <p14:creationId xmlns:p14="http://schemas.microsoft.com/office/powerpoint/2010/main" val="8819223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4855" y="963000"/>
            <a:ext cx="4932000" cy="4932000"/>
          </a:xfrm>
        </p:spPr>
        <p:txBody>
          <a:bodyPr/>
          <a:lstStyle>
            <a:lvl1pPr>
              <a:defRPr>
                <a:noFill/>
              </a:defRPr>
            </a:lvl1pPr>
          </a:lstStyle>
          <a:p>
            <a:endParaRPr lang="en-US"/>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21</a:t>
            </a:r>
          </a:p>
        </p:txBody>
      </p:sp>
      <p:sp>
        <p:nvSpPr>
          <p:cNvPr id="8" name="Title 4"/>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en-US" sz="3600" kern="0">
              <a:ea typeface="Arial Unicode MS" pitchFamily="34" charset="-128"/>
              <a:cs typeface="Arial Unicode MS" pitchFamily="34" charset="-128"/>
            </a:endParaRPr>
          </a:p>
        </p:txBody>
      </p:sp>
      <p:sp>
        <p:nvSpPr>
          <p:cNvPr id="10" name="Picture Placeholder 3" descr="{&quot;templafy&quot;:{&quot;id&quot;:&quot;257419e6-3990-40e4-9e14-8de49cd53b91&quot;}}">
            <a:extLst>
              <a:ext uri="{FF2B5EF4-FFF2-40B4-BE49-F238E27FC236}">
                <a16:creationId xmlns:a16="http://schemas.microsoft.com/office/drawing/2014/main" id="{0FFE55B2-87DF-DD43-A943-5A1B109F8C85}"/>
              </a:ext>
            </a:extLst>
          </p:cNvPr>
          <p:cNvSpPr>
            <a:spLocks noGrp="1"/>
          </p:cNvSpPr>
          <p:nvPr>
            <p:ph type="pic" sz="quarter" idx="13"/>
          </p:nvPr>
        </p:nvSpPr>
        <p:spPr>
          <a:xfrm>
            <a:off x="288001" y="2139633"/>
            <a:ext cx="4116387" cy="252000"/>
          </a:xfrm>
        </p:spPr>
        <p:txBody>
          <a:bodyPr anchor="ctr" anchorCtr="0">
            <a:normAutofit/>
          </a:bodyPr>
          <a:lstStyle>
            <a:lvl1pPr>
              <a:defRPr sz="1400">
                <a:noFill/>
              </a:defRPr>
            </a:lvl1pPr>
          </a:lstStyle>
          <a:p>
            <a:endParaRPr lang="en-US"/>
          </a:p>
        </p:txBody>
      </p:sp>
      <p:pic>
        <p:nvPicPr>
          <p:cNvPr id="1293937644" name="Picture Placeholder 7" descr="{&quot;templafy&quot;:{&quot;id&quot;:&quot;aa1270cd-81c1-4627-a4a9-8a1387ac0080&quot;}}"/>
          <p:cNvPicPr>
            <a:picLocks noChangeAspect="1"/>
          </p:cNvPicPr>
          <p:nvPr/>
        </p:nvPicPr>
        <p:blipFill>
          <a:blip r:embed="rId2"/>
          <a:stretch>
            <a:fillRect/>
          </a:stretch>
        </p:blipFill>
        <p:spPr>
          <a:xfrm>
            <a:off x="9948863" y="6218238"/>
            <a:ext cx="1963082" cy="365792"/>
          </a:xfrm>
          <a:prstGeom prst="rect">
            <a:avLst/>
          </a:prstGeom>
        </p:spPr>
      </p:pic>
      <p:sp>
        <p:nvSpPr>
          <p:cNvPr id="13" name="Picture Placeholder 11">
            <a:extLst>
              <a:ext uri="{FF2B5EF4-FFF2-40B4-BE49-F238E27FC236}">
                <a16:creationId xmlns:a16="http://schemas.microsoft.com/office/drawing/2014/main" id="{6C79B3D1-FBD4-7648-9F28-7BC07A450644}"/>
              </a:ext>
            </a:extLst>
          </p:cNvPr>
          <p:cNvSpPr>
            <a:spLocks noGrp="1"/>
          </p:cNvSpPr>
          <p:nvPr>
            <p:ph type="pic" sz="quarter" idx="15" hasCustomPrompt="1"/>
          </p:nvPr>
        </p:nvSpPr>
        <p:spPr>
          <a:xfrm>
            <a:off x="282575" y="6161088"/>
            <a:ext cx="954088" cy="417512"/>
          </a:xfrm>
        </p:spPr>
        <p:txBody>
          <a:bodyPr anchor="ctr" anchorCtr="0">
            <a:noAutofit/>
          </a:bodyPr>
          <a:lstStyle>
            <a:lvl1pPr algn="ctr">
              <a:spcBef>
                <a:spcPts val="0"/>
              </a:spcBef>
              <a:defRPr sz="1000"/>
            </a:lvl1pPr>
          </a:lstStyle>
          <a:p>
            <a:r>
              <a:rPr lang="en-US"/>
              <a:t>Add </a:t>
            </a:r>
            <a:br>
              <a:rPr lang="en-US"/>
            </a:br>
            <a:r>
              <a:rPr lang="en-US"/>
              <a:t>partner logo</a:t>
            </a:r>
          </a:p>
        </p:txBody>
      </p:sp>
      <p:sp>
        <p:nvSpPr>
          <p:cNvPr id="9" name="TextBox 8" descr="{&quot;templafy&quot;:{&quot;id&quot;:&quot;adbb7c98-5f63-4218-868b-2d59add631b3&quot;}}">
            <a:extLst>
              <a:ext uri="{FF2B5EF4-FFF2-40B4-BE49-F238E27FC236}">
                <a16:creationId xmlns:a16="http://schemas.microsoft.com/office/drawing/2014/main" id="{7CCB72D3-C53F-4D36-8D99-606F3BD14BC9}"/>
              </a:ext>
            </a:extLst>
          </p:cNvPr>
          <p:cNvSpPr txBox="1"/>
          <p:nvPr userDrawn="1"/>
        </p:nvSpPr>
        <p:spPr>
          <a:xfrm>
            <a:off x="282575" y="5264379"/>
            <a:ext cx="5987598"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a:t>
            </a:r>
          </a:p>
        </p:txBody>
      </p:sp>
    </p:spTree>
    <p:extLst>
      <p:ext uri="{BB962C8B-B14F-4D97-AF65-F5344CB8AC3E}">
        <p14:creationId xmlns:p14="http://schemas.microsoft.com/office/powerpoint/2010/main" val="34617831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p>
        </p:txBody>
      </p:sp>
    </p:spTree>
    <p:extLst>
      <p:ext uri="{BB962C8B-B14F-4D97-AF65-F5344CB8AC3E}">
        <p14:creationId xmlns:p14="http://schemas.microsoft.com/office/powerpoint/2010/main" val="466892352"/>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p>
        </p:txBody>
      </p:sp>
    </p:spTree>
    <p:extLst>
      <p:ext uri="{BB962C8B-B14F-4D97-AF65-F5344CB8AC3E}">
        <p14:creationId xmlns:p14="http://schemas.microsoft.com/office/powerpoint/2010/main" val="1948646720"/>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pic>
        <p:nvPicPr>
          <p:cNvPr id="11" name="SAP Logo" descr="SAP Logo" title="SAP Logo"/>
          <p:cNvPicPr>
            <a:picLocks noChangeAspect="1"/>
          </p:cNvPicPr>
          <p:nvPr userDrawn="1"/>
        </p:nvPicPr>
        <p:blipFill>
          <a:blip r:embed="rId2"/>
          <a:stretch>
            <a:fillRect/>
          </a:stretch>
        </p:blipFill>
        <p:spPr>
          <a:xfrm>
            <a:off x="9950552" y="6217668"/>
            <a:ext cx="1963636" cy="360000"/>
          </a:xfrm>
          <a:prstGeom prst="rect">
            <a:avLst/>
          </a:prstGeom>
        </p:spPr>
      </p:pic>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a:p>
        </p:txBody>
      </p:sp>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a:t>INTERNAL</a:t>
            </a:r>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8" name="Title 7"/>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spTree>
    <p:extLst>
      <p:ext uri="{BB962C8B-B14F-4D97-AF65-F5344CB8AC3E}">
        <p14:creationId xmlns:p14="http://schemas.microsoft.com/office/powerpoint/2010/main" val="30480462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pos="4196" userDrawn="1">
          <p15:clr>
            <a:srgbClr val="FBAE40"/>
          </p15:clr>
        </p15:guide>
        <p15:guide id="4" orient="horz" pos="2688" userDrawn="1">
          <p15:clr>
            <a:srgbClr val="FBAE40"/>
          </p15:clr>
        </p15:guide>
        <p15:guide id="5" orient="horz" pos="2335" userDrawn="1">
          <p15:clr>
            <a:srgbClr val="FBAE40"/>
          </p15:clr>
        </p15:guide>
        <p15:guide id="6" orient="horz" pos="2960" userDrawn="1">
          <p15:clr>
            <a:srgbClr val="FBAE40"/>
          </p15:clr>
        </p15:guide>
        <p15:guide id="7" orient="horz" pos="4144"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1130624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5673924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45014504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1303366134"/>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90620162"/>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147869289"/>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Tree>
    <p:extLst>
      <p:ext uri="{BB962C8B-B14F-4D97-AF65-F5344CB8AC3E}">
        <p14:creationId xmlns:p14="http://schemas.microsoft.com/office/powerpoint/2010/main" val="40953362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266387908"/>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Thank You and Contact Information">
    <p:bg>
      <p:bgRef idx="1001">
        <a:schemeClr val="bg1"/>
      </p:bgRef>
    </p:bg>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a:t>Thank you.</a:t>
            </a:r>
          </a:p>
        </p:txBody>
      </p:sp>
      <p:sp>
        <p:nvSpPr>
          <p:cNvPr id="5" name="Picture Placeholder 3" descr="{&quot;templafy&quot;:{&quot;id&quot;:&quot;bdfe93df-272b-44fd-a79a-4fbd6e54f806&quot;}}">
            <a:extLst>
              <a:ext uri="{FF2B5EF4-FFF2-40B4-BE49-F238E27FC236}">
                <a16:creationId xmlns:a16="http://schemas.microsoft.com/office/drawing/2014/main" id="{98F08F96-B8AA-3543-9FDD-33B125719343}"/>
              </a:ext>
            </a:extLst>
          </p:cNvPr>
          <p:cNvSpPr>
            <a:spLocks noGrp="1"/>
          </p:cNvSpPr>
          <p:nvPr>
            <p:ph type="pic" sz="quarter" idx="13" hasCustomPrompt="1"/>
          </p:nvPr>
        </p:nvSpPr>
        <p:spPr>
          <a:xfrm>
            <a:off x="504000" y="522453"/>
            <a:ext cx="4116387" cy="252000"/>
          </a:xfrm>
        </p:spPr>
        <p:txBody>
          <a:bodyPr anchor="ctr" anchorCtr="0">
            <a:normAutofit/>
          </a:bodyPr>
          <a:lstStyle>
            <a:lvl1pPr>
              <a:defRPr sz="1400"/>
            </a:lvl1pPr>
          </a:lstStyle>
          <a:p>
            <a:r>
              <a:rPr lang="en-US"/>
              <a:t>Add sub brand logo</a:t>
            </a:r>
          </a:p>
        </p:txBody>
      </p:sp>
      <p:pic>
        <p:nvPicPr>
          <p:cNvPr id="2101821134" name="Picture Placeholder 7" descr="{&quot;templafy&quot;:{&quot;id&quot;:&quot;7fe504b8-41b4-468f-95bc-acc88f5e8f6b&quot;}}"/>
          <p:cNvPicPr>
            <a:picLocks noChangeAspect="1"/>
          </p:cNvPicPr>
          <p:nvPr/>
        </p:nvPicPr>
        <p:blipFill>
          <a:blip r:embed="rId2"/>
          <a:stretch>
            <a:fillRect/>
          </a:stretch>
        </p:blipFill>
        <p:spPr>
          <a:xfrm>
            <a:off x="9948672" y="6217920"/>
            <a:ext cx="1963082" cy="365792"/>
          </a:xfrm>
          <a:prstGeom prst="rect">
            <a:avLst/>
          </a:prstGeom>
        </p:spPr>
      </p:pic>
    </p:spTree>
    <p:extLst>
      <p:ext uri="{BB962C8B-B14F-4D97-AF65-F5344CB8AC3E}">
        <p14:creationId xmlns:p14="http://schemas.microsoft.com/office/powerpoint/2010/main" val="3749518625"/>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Copyright">
    <p:spTree>
      <p:nvGrpSpPr>
        <p:cNvPr id="1" name=""/>
        <p:cNvGrpSpPr/>
        <p:nvPr/>
      </p:nvGrpSpPr>
      <p:grpSpPr>
        <a:xfrm>
          <a:off x="0" y="0"/>
          <a:ext cx="0" cy="0"/>
          <a:chOff x="0" y="0"/>
          <a:chExt cx="0" cy="0"/>
        </a:xfrm>
      </p:grpSpPr>
      <p:sp>
        <p:nvSpPr>
          <p:cNvPr id="44" name="www.sap.com - contact SAP link">
            <a:hlinkClick r:id="rId2"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pic>
        <p:nvPicPr>
          <p:cNvPr id="10" name="Linkedin icon with link">
            <a:hlinkClick r:id="rId3"/>
            <a:extLst>
              <a:ext uri="{FF2B5EF4-FFF2-40B4-BE49-F238E27FC236}">
                <a16:creationId xmlns:a16="http://schemas.microsoft.com/office/drawing/2014/main" id="{D03BED7D-4C1C-D348-B7EC-3275C42250B4}"/>
              </a:ext>
            </a:extLst>
          </p:cNvPr>
          <p:cNvPicPr>
            <a:picLocks noChangeAspect="1"/>
          </p:cNvPicPr>
          <p:nvPr userDrawn="1"/>
        </p:nvPicPr>
        <p:blipFill>
          <a:blip r:embed="rId4" cstate="hqprint">
            <a:extLst>
              <a:ext uri="{28A0092B-C50C-407E-A947-70E740481C1C}">
                <a14:useLocalDpi xmlns:a14="http://schemas.microsoft.com/office/drawing/2010/main"/>
              </a:ext>
            </a:extLst>
          </a:blip>
          <a:srcRect/>
          <a:stretch/>
        </p:blipFill>
        <p:spPr>
          <a:xfrm>
            <a:off x="2257487" y="1749959"/>
            <a:ext cx="361809" cy="361809"/>
          </a:xfrm>
          <a:prstGeom prst="rect">
            <a:avLst/>
          </a:prstGeom>
        </p:spPr>
      </p:pic>
      <p:pic>
        <p:nvPicPr>
          <p:cNvPr id="11" name="YouTube icon with link">
            <a:hlinkClick r:id="rId5"/>
            <a:extLst>
              <a:ext uri="{FF2B5EF4-FFF2-40B4-BE49-F238E27FC236}">
                <a16:creationId xmlns:a16="http://schemas.microsoft.com/office/drawing/2014/main" id="{4550E8CF-5571-DB45-85AB-8ACD63D7F0D9}"/>
              </a:ext>
            </a:extLst>
          </p:cNvPr>
          <p:cNvPicPr>
            <a:picLocks noChangeAspect="1"/>
          </p:cNvPicPr>
          <p:nvPr userDrawn="1"/>
        </p:nvPicPr>
        <p:blipFill>
          <a:blip r:embed="rId6" cstate="hqprint">
            <a:extLst>
              <a:ext uri="{28A0092B-C50C-407E-A947-70E740481C1C}">
                <a14:useLocalDpi xmlns:a14="http://schemas.microsoft.com/office/drawing/2010/main"/>
              </a:ext>
            </a:extLst>
          </a:blip>
          <a:srcRect/>
          <a:stretch/>
        </p:blipFill>
        <p:spPr>
          <a:xfrm>
            <a:off x="1666951" y="1749063"/>
            <a:ext cx="363600" cy="363600"/>
          </a:xfrm>
          <a:prstGeom prst="rect">
            <a:avLst/>
          </a:prstGeom>
        </p:spPr>
      </p:pic>
      <p:pic>
        <p:nvPicPr>
          <p:cNvPr id="12" name="Twitter icon with link">
            <a:hlinkClick r:id="rId7" tooltip="https://twitter.com/sap"/>
            <a:extLst>
              <a:ext uri="{FF2B5EF4-FFF2-40B4-BE49-F238E27FC236}">
                <a16:creationId xmlns:a16="http://schemas.microsoft.com/office/drawing/2014/main" id="{3A3DEA53-744B-5D49-B9C4-B3DD2B6F8890}"/>
              </a:ext>
            </a:extLst>
          </p:cNvPr>
          <p:cNvPicPr>
            <a:picLocks noChangeAspect="1"/>
          </p:cNvPicPr>
          <p:nvPr userDrawn="1"/>
        </p:nvPicPr>
        <p:blipFill>
          <a:blip r:embed="rId8" cstate="hqprint">
            <a:extLst>
              <a:ext uri="{28A0092B-C50C-407E-A947-70E740481C1C}">
                <a14:useLocalDpi xmlns:a14="http://schemas.microsoft.com/office/drawing/2010/main"/>
              </a:ext>
            </a:extLst>
          </a:blip>
          <a:srcRect/>
          <a:stretch/>
        </p:blipFill>
        <p:spPr>
          <a:xfrm>
            <a:off x="1078206" y="1749959"/>
            <a:ext cx="361809" cy="361809"/>
          </a:xfrm>
          <a:prstGeom prst="rect">
            <a:avLst/>
          </a:prstGeom>
        </p:spPr>
      </p:pic>
      <p:pic>
        <p:nvPicPr>
          <p:cNvPr id="13" name="Facebook icon with link">
            <a:hlinkClick r:id="rId9"/>
            <a:extLst>
              <a:ext uri="{FF2B5EF4-FFF2-40B4-BE49-F238E27FC236}">
                <a16:creationId xmlns:a16="http://schemas.microsoft.com/office/drawing/2014/main" id="{0574D7D9-99A0-C642-8DCC-BBDFBACB0C47}"/>
              </a:ext>
            </a:extLst>
          </p:cNvPr>
          <p:cNvPicPr>
            <a:picLocks noChangeAspect="1"/>
          </p:cNvPicPr>
          <p:nvPr userDrawn="1"/>
        </p:nvPicPr>
        <p:blipFill>
          <a:blip r:embed="rId10" cstate="hqprint">
            <a:extLst>
              <a:ext uri="{28A0092B-C50C-407E-A947-70E740481C1C}">
                <a14:useLocalDpi xmlns:a14="http://schemas.microsoft.com/office/drawing/2010/main"/>
              </a:ext>
            </a:extLst>
          </a:blip>
          <a:srcRect/>
          <a:stretch/>
        </p:blipFill>
        <p:spPr>
          <a:xfrm>
            <a:off x="487670" y="1749063"/>
            <a:ext cx="363600" cy="363600"/>
          </a:xfrm>
          <a:prstGeom prst="rect">
            <a:avLst/>
          </a:prstGeom>
        </p:spPr>
      </p:pic>
      <p:sp>
        <p:nvSpPr>
          <p:cNvPr id="15" name="Picture Placeholder 3" descr="{&quot;templafy&quot;:{&quot;id&quot;:&quot;3dfe7226-963e-4c40-a38e-97c019d74398&quot;}}">
            <a:extLst>
              <a:ext uri="{FF2B5EF4-FFF2-40B4-BE49-F238E27FC236}">
                <a16:creationId xmlns:a16="http://schemas.microsoft.com/office/drawing/2014/main" id="{B3152CF0-7C75-5E48-8EE7-05C2FDB5AEBD}"/>
              </a:ext>
            </a:extLst>
          </p:cNvPr>
          <p:cNvSpPr>
            <a:spLocks noGrp="1"/>
          </p:cNvSpPr>
          <p:nvPr>
            <p:ph type="pic" sz="quarter" idx="13" hasCustomPrompt="1"/>
          </p:nvPr>
        </p:nvSpPr>
        <p:spPr>
          <a:xfrm>
            <a:off x="528714" y="522453"/>
            <a:ext cx="4116387" cy="252000"/>
          </a:xfrm>
        </p:spPr>
        <p:txBody>
          <a:bodyPr anchor="ctr" anchorCtr="0">
            <a:normAutofit/>
          </a:bodyPr>
          <a:lstStyle>
            <a:lvl1pPr>
              <a:defRPr sz="1400"/>
            </a:lvl1pPr>
          </a:lstStyle>
          <a:p>
            <a:r>
              <a:rPr lang="en-US"/>
              <a:t>Add sub brand logo</a:t>
            </a:r>
          </a:p>
        </p:txBody>
      </p:sp>
      <p:pic>
        <p:nvPicPr>
          <p:cNvPr id="1899465014" name="Picture Placeholder 7" descr="{&quot;templafy&quot;:{&quot;id&quot;:&quot;e9823abb-42a5-46dd-a9e9-4b9db371d67b&quot;}}"/>
          <p:cNvPicPr>
            <a:picLocks noChangeAspect="1"/>
          </p:cNvPicPr>
          <p:nvPr/>
        </p:nvPicPr>
        <p:blipFill>
          <a:blip r:embed="rId11"/>
          <a:stretch>
            <a:fillRect/>
          </a:stretch>
        </p:blipFill>
        <p:spPr>
          <a:xfrm>
            <a:off x="9948672" y="6217920"/>
            <a:ext cx="1963082" cy="365792"/>
          </a:xfrm>
          <a:prstGeom prst="rect">
            <a:avLst/>
          </a:prstGeom>
        </p:spPr>
      </p:pic>
      <p:sp>
        <p:nvSpPr>
          <p:cNvPr id="14" name="Copyright information-German" descr="{&quot;templafy&quot;:{&quot;id&quot;:&quot;508239cb-7db6-4954-aa7b-4b748fc1755b&quot;}}">
            <a:extLst>
              <a:ext uri="{FF2B5EF4-FFF2-40B4-BE49-F238E27FC236}">
                <a16:creationId xmlns:a16="http://schemas.microsoft.com/office/drawing/2014/main" id="{B550E322-429A-4EDE-8D60-08E8F7B303BA}"/>
              </a:ext>
            </a:extLst>
          </p:cNvPr>
          <p:cNvSpPr txBox="1"/>
          <p:nvPr userDrawn="1"/>
        </p:nvSpPr>
        <p:spPr bwMode="black">
          <a:xfrm>
            <a:off x="503238" y="2663333"/>
            <a:ext cx="6561591" cy="3864366"/>
          </a:xfrm>
          <a:prstGeom prst="rect">
            <a:avLst/>
          </a:prstGeom>
          <a:noFill/>
        </p:spPr>
        <p:txBody>
          <a:bodyPr wrap="square" lIns="0" tIns="0" rIns="0" bIns="0" rtlCol="0" anchor="t">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kern="1200" noProof="0">
                <a:solidFill>
                  <a:schemeClr val="tx1"/>
                </a:solidFill>
                <a:effectLst/>
                <a:latin typeface="Arial"/>
                <a:ea typeface="+mn-ea"/>
                <a:cs typeface="+mn-cs"/>
              </a:rPr>
              <a:t>© 2021 SAP SE or an SAP affiliate company. All rights reserved. 
No part of this publication may be reproduced or transmitted in any form or for any purpose without the express permission of SAP SE or an SAP affiliate company.  The information contained herein may be changed without prior notice. Some software products marketed by SAP SE and its distributors contain proprietary software components of other software vendors. National product specifications may vary.  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and they should not be relied upon in making purchasing decisions.  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See www.sap.com/trademark for additional trademark information and notices.</a:t>
            </a:r>
          </a:p>
        </p:txBody>
      </p:sp>
    </p:spTree>
    <p:extLst>
      <p:ext uri="{BB962C8B-B14F-4D97-AF65-F5344CB8AC3E}">
        <p14:creationId xmlns:p14="http://schemas.microsoft.com/office/powerpoint/2010/main" val="259875514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2"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sp>
        <p:nvSpPr>
          <p:cNvPr id="32" name="Copyright information-German" descr="{&quot;templafy&quot;:{&quot;id&quot;:&quot;1f27e654-b486-4d53-bb9b-2fbf64cd8214&quot;}}"/>
          <p:cNvSpPr txBox="1"/>
          <p:nvPr userDrawn="1"/>
        </p:nvSpPr>
        <p:spPr bwMode="black">
          <a:xfrm>
            <a:off x="503238" y="2674219"/>
            <a:ext cx="6561591" cy="3864366"/>
          </a:xfrm>
          <a:prstGeom prst="rect">
            <a:avLst/>
          </a:prstGeom>
          <a:noFill/>
        </p:spPr>
        <p:txBody>
          <a:bodyPr wrap="square" lIns="0" tIns="0" rIns="0" bIns="0" rtlCol="0" anchor="t">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kern="1200" noProof="0">
                <a:solidFill>
                  <a:schemeClr val="tx1"/>
                </a:solidFill>
                <a:effectLst/>
                <a:latin typeface="Arial"/>
                <a:ea typeface="+mn-ea"/>
                <a:cs typeface="+mn-cs"/>
              </a:rPr>
              <a:t>© 2021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lle </a:t>
            </a:r>
            <a:r>
              <a:rPr lang="en-US" sz="800" kern="1200" noProof="0" err="1">
                <a:solidFill>
                  <a:schemeClr val="tx1"/>
                </a:solidFill>
                <a:effectLst/>
                <a:latin typeface="Arial"/>
                <a:ea typeface="+mn-ea"/>
                <a:cs typeface="+mn-cs"/>
              </a:rPr>
              <a:t>Rech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orbehalt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itergab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Vervielfältig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von </a:t>
            </a:r>
            <a:r>
              <a:rPr lang="en-US" sz="800" kern="1200" noProof="0" err="1">
                <a:solidFill>
                  <a:schemeClr val="tx1"/>
                </a:solidFill>
                <a:effectLst/>
                <a:latin typeface="Arial"/>
                <a:ea typeface="+mn-ea"/>
                <a:cs typeface="+mn-cs"/>
              </a:rPr>
              <a:t>Teil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araus</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ind</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lchem</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weck</a:t>
            </a:r>
            <a:r>
              <a:rPr lang="en-US" sz="800" kern="1200" noProof="0">
                <a:solidFill>
                  <a:schemeClr val="tx1"/>
                </a:solidFill>
                <a:effectLst/>
                <a:latin typeface="Arial"/>
                <a:ea typeface="+mn-ea"/>
                <a:cs typeface="+mn-cs"/>
              </a:rPr>
              <a:t> und in </a:t>
            </a:r>
            <a:r>
              <a:rPr lang="en-US" sz="800" kern="1200" noProof="0" err="1">
                <a:solidFill>
                  <a:schemeClr val="tx1"/>
                </a:solidFill>
                <a:effectLst/>
                <a:latin typeface="Arial"/>
                <a:ea typeface="+mn-ea"/>
                <a:cs typeface="+mn-cs"/>
              </a:rPr>
              <a:t>welcher</a:t>
            </a:r>
            <a:r>
              <a:rPr lang="en-US" sz="800" kern="1200" noProof="0">
                <a:solidFill>
                  <a:schemeClr val="tx1"/>
                </a:solidFill>
                <a:effectLst/>
                <a:latin typeface="Arial"/>
                <a:ea typeface="+mn-ea"/>
                <a:cs typeface="+mn-cs"/>
              </a:rPr>
              <a:t> Form </a:t>
            </a:r>
            <a:r>
              <a:rPr lang="en-US" sz="800" kern="1200" noProof="0" err="1">
                <a:solidFill>
                  <a:schemeClr val="tx1"/>
                </a:solidFill>
                <a:effectLst/>
                <a:latin typeface="Arial"/>
                <a:ea typeface="+mn-ea"/>
                <a:cs typeface="+mn-cs"/>
              </a:rPr>
              <a:t>au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mm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hne</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ausdrück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chrift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nehmig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urch</a:t>
            </a:r>
            <a:r>
              <a:rPr lang="en-US" sz="800" kern="1200" noProof="0">
                <a:solidFill>
                  <a:schemeClr val="tx1"/>
                </a:solidFill>
                <a:effectLst/>
                <a:latin typeface="Arial"/>
                <a:ea typeface="+mn-ea"/>
                <a:cs typeface="+mn-cs"/>
              </a:rPr>
              <a:t>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nich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stattet</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halte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h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orheri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kündig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änder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rden</a:t>
            </a:r>
            <a:r>
              <a:rPr lang="en-US" sz="800" kern="1200" noProof="0">
                <a:solidFill>
                  <a:schemeClr val="tx1"/>
                </a:solidFill>
                <a:effectLst/>
                <a:latin typeface="Arial"/>
                <a:ea typeface="+mn-ea"/>
                <a:cs typeface="+mn-cs"/>
              </a:rPr>
              <a:t>. Die von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e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triebsfir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gebot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oftwareproduk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oftwarekomponent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der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oftwareherstell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halt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länderspezifis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terschied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fweisen</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vorliegend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terla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rden</a:t>
            </a:r>
            <a:r>
              <a:rPr lang="en-US" sz="800" kern="1200" noProof="0">
                <a:solidFill>
                  <a:schemeClr val="tx1"/>
                </a:solidFill>
                <a:effectLst/>
                <a:latin typeface="Arial"/>
                <a:ea typeface="+mn-ea"/>
                <a:cs typeface="+mn-cs"/>
              </a:rPr>
              <a:t> von der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em</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bereitgestellt</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sschließli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szwecken</a:t>
            </a:r>
            <a:r>
              <a:rPr lang="en-US" sz="800" kern="1200" noProof="0">
                <a:solidFill>
                  <a:schemeClr val="tx1"/>
                </a:solidFill>
                <a:effectLst/>
                <a:latin typeface="Arial"/>
                <a:ea typeface="+mn-ea"/>
                <a:cs typeface="+mn-cs"/>
              </a:rPr>
              <a:t>. Die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hr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üb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erlei</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Haft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währleist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ü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ehl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vollständigkeiten</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Die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teh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ledigli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ü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stleist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nach</a:t>
            </a:r>
            <a:r>
              <a:rPr lang="en-US" sz="800" kern="1200" noProof="0">
                <a:solidFill>
                  <a:schemeClr val="tx1"/>
                </a:solidFill>
                <a:effectLst/>
                <a:latin typeface="Arial"/>
                <a:ea typeface="+mn-ea"/>
                <a:cs typeface="+mn-cs"/>
              </a:rPr>
              <a:t> der </a:t>
            </a:r>
            <a:r>
              <a:rPr lang="en-US" sz="800" kern="1200" noProof="0" err="1">
                <a:solidFill>
                  <a:schemeClr val="tx1"/>
                </a:solidFill>
                <a:effectLst/>
                <a:latin typeface="Arial"/>
                <a:ea typeface="+mn-ea"/>
                <a:cs typeface="+mn-cs"/>
              </a:rPr>
              <a:t>Maßgab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a:t>
            </a:r>
            <a:r>
              <a:rPr lang="en-US" sz="800" kern="1200" noProof="0">
                <a:solidFill>
                  <a:schemeClr val="tx1"/>
                </a:solidFill>
                <a:effectLst/>
                <a:latin typeface="Arial"/>
                <a:ea typeface="+mn-ea"/>
                <a:cs typeface="+mn-cs"/>
              </a:rPr>
              <a:t>, die in der </a:t>
            </a:r>
            <a:r>
              <a:rPr lang="en-US" sz="800" kern="1200" noProof="0" err="1">
                <a:solidFill>
                  <a:schemeClr val="tx1"/>
                </a:solidFill>
                <a:effectLst/>
                <a:latin typeface="Arial"/>
                <a:ea typeface="+mn-ea"/>
                <a:cs typeface="+mn-cs"/>
              </a:rPr>
              <a:t>Vereinbar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über</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jeweili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stleist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sdrückli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regel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s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e</a:t>
            </a:r>
            <a:r>
              <a:rPr lang="en-US" sz="800" kern="1200" noProof="0">
                <a:solidFill>
                  <a:schemeClr val="tx1"/>
                </a:solidFill>
                <a:effectLst/>
                <a:latin typeface="Arial"/>
                <a:ea typeface="+mn-ea"/>
                <a:cs typeface="+mn-cs"/>
              </a:rPr>
              <a:t> der </a:t>
            </a:r>
            <a:r>
              <a:rPr lang="en-US" sz="800" kern="1200" noProof="0" err="1">
                <a:solidFill>
                  <a:schemeClr val="tx1"/>
                </a:solidFill>
                <a:effectLst/>
                <a:latin typeface="Arial"/>
                <a:ea typeface="+mn-ea"/>
                <a:cs typeface="+mn-cs"/>
              </a:rPr>
              <a:t>hieri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halt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s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ls</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sätz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aranti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terpretie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sbesonder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ind</a:t>
            </a:r>
            <a:r>
              <a:rPr lang="en-US" sz="800" kern="1200" noProof="0">
                <a:solidFill>
                  <a:schemeClr val="tx1"/>
                </a:solidFill>
                <a:effectLst/>
                <a:latin typeface="Arial"/>
                <a:ea typeface="+mn-ea"/>
                <a:cs typeface="+mn-cs"/>
              </a:rPr>
              <a:t> die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hr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keiner</a:t>
            </a:r>
            <a:r>
              <a:rPr lang="en-US" sz="800" kern="1200" noProof="0">
                <a:solidFill>
                  <a:schemeClr val="tx1"/>
                </a:solidFill>
                <a:effectLst/>
                <a:latin typeface="Arial"/>
                <a:ea typeface="+mn-ea"/>
                <a:cs typeface="+mn-cs"/>
              </a:rPr>
              <a:t> Weise </a:t>
            </a:r>
            <a:r>
              <a:rPr lang="en-US" sz="800" kern="1200" noProof="0" err="1">
                <a:solidFill>
                  <a:schemeClr val="tx1"/>
                </a:solidFill>
                <a:effectLst/>
                <a:latin typeface="Arial"/>
                <a:ea typeface="+mn-ea"/>
                <a:cs typeface="+mn-cs"/>
              </a:rPr>
              <a:t>verpflichtet</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gehöri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äsent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argestell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schäftsabläuf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fol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hieri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iedergegebe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unk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wickel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öffentlich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ies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gehöri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äsentation</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Strategi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etwai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ünfti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wickl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und/</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lattformen</a:t>
            </a:r>
            <a:r>
              <a:rPr lang="en-US" sz="800" kern="1200" noProof="0">
                <a:solidFill>
                  <a:schemeClr val="tx1"/>
                </a:solidFill>
                <a:effectLst/>
                <a:latin typeface="Arial"/>
                <a:ea typeface="+mn-ea"/>
                <a:cs typeface="+mn-cs"/>
              </a:rPr>
              <a:t> der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hr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von der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h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jederzeit</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oh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gabe</a:t>
            </a:r>
            <a:r>
              <a:rPr lang="en-US" sz="800" kern="1200" noProof="0">
                <a:solidFill>
                  <a:schemeClr val="tx1"/>
                </a:solidFill>
                <a:effectLst/>
                <a:latin typeface="Arial"/>
                <a:ea typeface="+mn-ea"/>
                <a:cs typeface="+mn-cs"/>
              </a:rPr>
              <a:t> von </a:t>
            </a:r>
            <a:r>
              <a:rPr lang="en-US" sz="800" kern="1200" noProof="0" err="1">
                <a:solidFill>
                  <a:schemeClr val="tx1"/>
                </a:solidFill>
                <a:effectLst/>
                <a:latin typeface="Arial"/>
                <a:ea typeface="+mn-ea"/>
                <a:cs typeface="+mn-cs"/>
              </a:rPr>
              <a:t>Gründ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angekündig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änder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rden</a:t>
            </a:r>
            <a:r>
              <a:rPr lang="en-US" sz="800" kern="1200" noProof="0">
                <a:solidFill>
                  <a:schemeClr val="tx1"/>
                </a:solidFill>
                <a:effectLst/>
                <a:latin typeface="Arial"/>
                <a:ea typeface="+mn-ea"/>
                <a:cs typeface="+mn-cs"/>
              </a:rPr>
              <a:t>.  Die in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halt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tell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sa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sprechen</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kei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recht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pflicht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Lieferung</a:t>
            </a:r>
            <a:r>
              <a:rPr lang="en-US" sz="800" kern="1200" noProof="0">
                <a:solidFill>
                  <a:schemeClr val="tx1"/>
                </a:solidFill>
                <a:effectLst/>
                <a:latin typeface="Arial"/>
                <a:ea typeface="+mn-ea"/>
                <a:cs typeface="+mn-cs"/>
              </a:rPr>
              <a:t> von Material, Cod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unk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a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ämt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orausschauend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ssa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terlie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terschiedlich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Risiken</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Unsicherheit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urch</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di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tatsächlich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rgebnisse</a:t>
            </a:r>
            <a:r>
              <a:rPr lang="en-US" sz="800" kern="1200" noProof="0">
                <a:solidFill>
                  <a:schemeClr val="tx1"/>
                </a:solidFill>
                <a:effectLst/>
                <a:latin typeface="Arial"/>
                <a:ea typeface="+mn-ea"/>
                <a:cs typeface="+mn-cs"/>
              </a:rPr>
              <a:t> von den </a:t>
            </a:r>
            <a:r>
              <a:rPr lang="en-US" sz="800" kern="1200" noProof="0" err="1">
                <a:solidFill>
                  <a:schemeClr val="tx1"/>
                </a:solidFill>
                <a:effectLst/>
                <a:latin typeface="Arial"/>
                <a:ea typeface="+mn-ea"/>
                <a:cs typeface="+mn-cs"/>
              </a:rPr>
              <a:t>Erwart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bweich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Dem </a:t>
            </a:r>
            <a:r>
              <a:rPr lang="en-US" sz="800" kern="1200" noProof="0" err="1">
                <a:solidFill>
                  <a:schemeClr val="tx1"/>
                </a:solidFill>
                <a:effectLst/>
                <a:latin typeface="Arial"/>
                <a:ea typeface="+mn-ea"/>
                <a:cs typeface="+mn-cs"/>
              </a:rPr>
              <a:t>L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ird</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mpfohl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ies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orausschauend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ssa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übertriebenes</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trau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chenken</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si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bei</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aufentscheid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nicht</a:t>
            </a:r>
            <a:r>
              <a:rPr lang="en-US" sz="800" kern="1200" noProof="0">
                <a:solidFill>
                  <a:schemeClr val="tx1"/>
                </a:solidFill>
                <a:effectLst/>
                <a:latin typeface="Arial"/>
                <a:ea typeface="+mn-ea"/>
                <a:cs typeface="+mn-cs"/>
              </a:rPr>
              <a:t> auf </a:t>
            </a:r>
            <a:r>
              <a:rPr lang="en-US" sz="800" kern="1200" noProof="0" err="1">
                <a:solidFill>
                  <a:schemeClr val="tx1"/>
                </a:solidFill>
                <a:effectLst/>
                <a:latin typeface="Arial"/>
                <a:ea typeface="+mn-ea"/>
                <a:cs typeface="+mn-cs"/>
              </a:rPr>
              <a:t>si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tützen</a:t>
            </a:r>
            <a:r>
              <a:rPr lang="en-US" sz="800" kern="1200" noProof="0">
                <a:solidFill>
                  <a:schemeClr val="tx1"/>
                </a:solidFill>
                <a:effectLst/>
                <a:latin typeface="Arial"/>
                <a:ea typeface="+mn-ea"/>
                <a:cs typeface="+mn-cs"/>
              </a:rPr>
              <a:t>.  SAP und </a:t>
            </a:r>
            <a:r>
              <a:rPr lang="en-US" sz="800" kern="1200" noProof="0" err="1">
                <a:solidFill>
                  <a:schemeClr val="tx1"/>
                </a:solidFill>
                <a:effectLst/>
                <a:latin typeface="Arial"/>
                <a:ea typeface="+mn-ea"/>
                <a:cs typeface="+mn-cs"/>
              </a:rPr>
              <a:t>andere</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diesem</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okumen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rwähn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stleistungen</a:t>
            </a:r>
            <a:r>
              <a:rPr lang="en-US" sz="800" kern="1200" noProof="0">
                <a:solidFill>
                  <a:schemeClr val="tx1"/>
                </a:solidFill>
                <a:effectLst/>
                <a:latin typeface="Arial"/>
                <a:ea typeface="+mn-ea"/>
                <a:cs typeface="+mn-cs"/>
              </a:rPr>
              <a:t> von SAP </a:t>
            </a:r>
            <a:r>
              <a:rPr lang="en-US" sz="800" kern="1200" noProof="0" err="1">
                <a:solidFill>
                  <a:schemeClr val="tx1"/>
                </a:solidFill>
                <a:effectLst/>
                <a:latin typeface="Arial"/>
                <a:ea typeface="+mn-ea"/>
                <a:cs typeface="+mn-cs"/>
              </a:rPr>
              <a:t>sowie</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dazugehörigen</a:t>
            </a:r>
            <a:r>
              <a:rPr lang="en-US" sz="800" kern="1200" noProof="0">
                <a:solidFill>
                  <a:schemeClr val="tx1"/>
                </a:solidFill>
                <a:effectLst/>
                <a:latin typeface="Arial"/>
                <a:ea typeface="+mn-ea"/>
                <a:cs typeface="+mn-cs"/>
              </a:rPr>
              <a:t> Logos </a:t>
            </a:r>
            <a:r>
              <a:rPr lang="en-US" sz="800" kern="1200" noProof="0" err="1">
                <a:solidFill>
                  <a:schemeClr val="tx1"/>
                </a:solidFill>
                <a:effectLst/>
                <a:latin typeface="Arial"/>
                <a:ea typeface="+mn-ea"/>
                <a:cs typeface="+mn-cs"/>
              </a:rPr>
              <a:t>sind</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Mark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getrage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Marken</a:t>
            </a:r>
            <a:r>
              <a:rPr lang="en-US" sz="800" kern="1200" noProof="0">
                <a:solidFill>
                  <a:schemeClr val="tx1"/>
                </a:solidFill>
                <a:effectLst/>
                <a:latin typeface="Arial"/>
                <a:ea typeface="+mn-ea"/>
                <a:cs typeface="+mn-cs"/>
              </a:rPr>
              <a:t> der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von </a:t>
            </a:r>
            <a:r>
              <a:rPr lang="en-US" sz="800" kern="1200" noProof="0" err="1">
                <a:solidFill>
                  <a:schemeClr val="tx1"/>
                </a:solidFill>
                <a:effectLst/>
                <a:latin typeface="Arial"/>
                <a:ea typeface="+mn-ea"/>
                <a:cs typeface="+mn-cs"/>
              </a:rPr>
              <a:t>einem</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in Deutschland und </a:t>
            </a:r>
            <a:r>
              <a:rPr lang="en-US" sz="800" kern="1200" noProof="0" err="1">
                <a:solidFill>
                  <a:schemeClr val="tx1"/>
                </a:solidFill>
                <a:effectLst/>
                <a:latin typeface="Arial"/>
                <a:ea typeface="+mn-ea"/>
                <a:cs typeface="+mn-cs"/>
              </a:rPr>
              <a:t>verschied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de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Länder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ltweit</a:t>
            </a:r>
            <a:r>
              <a:rPr lang="en-US" sz="800" kern="1200" noProof="0">
                <a:solidFill>
                  <a:schemeClr val="tx1"/>
                </a:solidFill>
                <a:effectLst/>
                <a:latin typeface="Arial"/>
                <a:ea typeface="+mn-ea"/>
                <a:cs typeface="+mn-cs"/>
              </a:rPr>
              <a:t>.  Alle </a:t>
            </a:r>
            <a:r>
              <a:rPr lang="en-US" sz="800" kern="1200" noProof="0" err="1">
                <a:solidFill>
                  <a:schemeClr val="tx1"/>
                </a:solidFill>
                <a:effectLst/>
                <a:latin typeface="Arial"/>
                <a:ea typeface="+mn-ea"/>
                <a:cs typeface="+mn-cs"/>
              </a:rPr>
              <a:t>ande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Namen</a:t>
            </a:r>
            <a:r>
              <a:rPr lang="en-US" sz="800" kern="1200" noProof="0">
                <a:solidFill>
                  <a:schemeClr val="tx1"/>
                </a:solidFill>
                <a:effectLst/>
                <a:latin typeface="Arial"/>
                <a:ea typeface="+mn-ea"/>
                <a:cs typeface="+mn-cs"/>
              </a:rPr>
              <a:t> von </a:t>
            </a:r>
            <a:r>
              <a:rPr lang="en-US" sz="800" kern="1200" noProof="0" err="1">
                <a:solidFill>
                  <a:schemeClr val="tx1"/>
                </a:solidFill>
                <a:effectLst/>
                <a:latin typeface="Arial"/>
                <a:ea typeface="+mn-ea"/>
                <a:cs typeface="+mn-cs"/>
              </a:rPr>
              <a:t>Produkten</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stleist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ind</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Marken</a:t>
            </a:r>
            <a:r>
              <a:rPr lang="en-US" sz="800" kern="1200" noProof="0">
                <a:solidFill>
                  <a:schemeClr val="tx1"/>
                </a:solidFill>
                <a:effectLst/>
                <a:latin typeface="Arial"/>
                <a:ea typeface="+mn-ea"/>
                <a:cs typeface="+mn-cs"/>
              </a:rPr>
              <a:t> der </a:t>
            </a:r>
            <a:r>
              <a:rPr lang="en-US" sz="800" kern="1200" noProof="0" err="1">
                <a:solidFill>
                  <a:schemeClr val="tx1"/>
                </a:solidFill>
                <a:effectLst/>
                <a:latin typeface="Arial"/>
                <a:ea typeface="+mn-ea"/>
                <a:cs typeface="+mn-cs"/>
              </a:rPr>
              <a:t>jeweili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ir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sätz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Mark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Vermerk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inden</a:t>
            </a:r>
            <a:r>
              <a:rPr lang="en-US" sz="800" kern="1200" noProof="0">
                <a:solidFill>
                  <a:schemeClr val="tx1"/>
                </a:solidFill>
                <a:effectLst/>
                <a:latin typeface="Arial"/>
                <a:ea typeface="+mn-ea"/>
                <a:cs typeface="+mn-cs"/>
              </a:rPr>
              <a:t> Sie auf der </a:t>
            </a:r>
            <a:r>
              <a:rPr lang="en-US" sz="800" kern="1200" noProof="0" err="1">
                <a:solidFill>
                  <a:schemeClr val="tx1"/>
                </a:solidFill>
                <a:effectLst/>
                <a:latin typeface="Arial"/>
                <a:ea typeface="+mn-ea"/>
                <a:cs typeface="+mn-cs"/>
              </a:rPr>
              <a:t>Seite</a:t>
            </a:r>
            <a:r>
              <a:rPr lang="en-US" sz="800" kern="1200" noProof="0">
                <a:solidFill>
                  <a:schemeClr val="tx1"/>
                </a:solidFill>
                <a:effectLst/>
                <a:latin typeface="Arial"/>
                <a:ea typeface="+mn-ea"/>
                <a:cs typeface="+mn-cs"/>
              </a:rPr>
              <a:t> www.sap.de/trademark.</a:t>
            </a:r>
          </a:p>
        </p:txBody>
      </p:sp>
      <p:sp>
        <p:nvSpPr>
          <p:cNvPr id="20"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noProof="0">
                <a:solidFill>
                  <a:schemeClr val="tx1"/>
                </a:solidFill>
                <a:latin typeface="Arial"/>
                <a:ea typeface="Arial Unicode MS" panose="020B0604020202020204" pitchFamily="34" charset="-128"/>
                <a:cs typeface="+mn-cs"/>
              </a:rPr>
              <a:t>SAP </a:t>
            </a:r>
            <a:r>
              <a:rPr lang="en-US" sz="1100" b="0" kern="1200" noProof="0" err="1">
                <a:solidFill>
                  <a:schemeClr val="tx1"/>
                </a:solidFill>
                <a:latin typeface="Arial"/>
                <a:ea typeface="Arial Unicode MS" panose="020B0604020202020204" pitchFamily="34" charset="-128"/>
                <a:cs typeface="+mn-cs"/>
              </a:rPr>
              <a:t>folgen</a:t>
            </a:r>
            <a:r>
              <a:rPr lang="en-US" sz="1100" b="0" kern="1200" noProof="0">
                <a:solidFill>
                  <a:schemeClr val="tx1"/>
                </a:solidFill>
                <a:latin typeface="Arial"/>
                <a:ea typeface="Arial Unicode MS" panose="020B0604020202020204" pitchFamily="34" charset="-128"/>
                <a:cs typeface="+mn-cs"/>
              </a:rPr>
              <a:t> auf</a:t>
            </a:r>
          </a:p>
        </p:txBody>
      </p:sp>
      <p:pic>
        <p:nvPicPr>
          <p:cNvPr id="10" name="Linkedin icon with link">
            <a:hlinkClick r:id="rId3"/>
            <a:extLst>
              <a:ext uri="{FF2B5EF4-FFF2-40B4-BE49-F238E27FC236}">
                <a16:creationId xmlns:a16="http://schemas.microsoft.com/office/drawing/2014/main" id="{7D1F0187-E2B3-E84B-B66C-2F4329298216}"/>
              </a:ext>
            </a:extLst>
          </p:cNvPr>
          <p:cNvPicPr>
            <a:picLocks noChangeAspect="1"/>
          </p:cNvPicPr>
          <p:nvPr userDrawn="1"/>
        </p:nvPicPr>
        <p:blipFill>
          <a:blip r:embed="rId4" cstate="hqprint">
            <a:extLst>
              <a:ext uri="{28A0092B-C50C-407E-A947-70E740481C1C}">
                <a14:useLocalDpi xmlns:a14="http://schemas.microsoft.com/office/drawing/2010/main"/>
              </a:ext>
            </a:extLst>
          </a:blip>
          <a:srcRect/>
          <a:stretch/>
        </p:blipFill>
        <p:spPr>
          <a:xfrm>
            <a:off x="2257487" y="1749959"/>
            <a:ext cx="361809" cy="361809"/>
          </a:xfrm>
          <a:prstGeom prst="rect">
            <a:avLst/>
          </a:prstGeom>
        </p:spPr>
      </p:pic>
      <p:pic>
        <p:nvPicPr>
          <p:cNvPr id="12" name="YouTube icon with link">
            <a:hlinkClick r:id="rId5"/>
            <a:extLst>
              <a:ext uri="{FF2B5EF4-FFF2-40B4-BE49-F238E27FC236}">
                <a16:creationId xmlns:a16="http://schemas.microsoft.com/office/drawing/2014/main" id="{E3EFD77E-732B-3042-869E-DD34D616C8DC}"/>
              </a:ext>
            </a:extLst>
          </p:cNvPr>
          <p:cNvPicPr>
            <a:picLocks noChangeAspect="1"/>
          </p:cNvPicPr>
          <p:nvPr userDrawn="1"/>
        </p:nvPicPr>
        <p:blipFill>
          <a:blip r:embed="rId6" cstate="hqprint">
            <a:extLst>
              <a:ext uri="{28A0092B-C50C-407E-A947-70E740481C1C}">
                <a14:useLocalDpi xmlns:a14="http://schemas.microsoft.com/office/drawing/2010/main"/>
              </a:ext>
            </a:extLst>
          </a:blip>
          <a:srcRect/>
          <a:stretch/>
        </p:blipFill>
        <p:spPr>
          <a:xfrm>
            <a:off x="1666951" y="1749063"/>
            <a:ext cx="363600" cy="363600"/>
          </a:xfrm>
          <a:prstGeom prst="rect">
            <a:avLst/>
          </a:prstGeom>
        </p:spPr>
      </p:pic>
      <p:pic>
        <p:nvPicPr>
          <p:cNvPr id="13" name="Twitter icon with link">
            <a:hlinkClick r:id="rId7" tooltip="https://twitter.com/sap"/>
            <a:extLst>
              <a:ext uri="{FF2B5EF4-FFF2-40B4-BE49-F238E27FC236}">
                <a16:creationId xmlns:a16="http://schemas.microsoft.com/office/drawing/2014/main" id="{F964F380-9DA3-B140-A34E-13AB1317334E}"/>
              </a:ext>
            </a:extLst>
          </p:cNvPr>
          <p:cNvPicPr>
            <a:picLocks noChangeAspect="1"/>
          </p:cNvPicPr>
          <p:nvPr userDrawn="1"/>
        </p:nvPicPr>
        <p:blipFill>
          <a:blip r:embed="rId8" cstate="hqprint">
            <a:extLst>
              <a:ext uri="{28A0092B-C50C-407E-A947-70E740481C1C}">
                <a14:useLocalDpi xmlns:a14="http://schemas.microsoft.com/office/drawing/2010/main"/>
              </a:ext>
            </a:extLst>
          </a:blip>
          <a:srcRect/>
          <a:stretch/>
        </p:blipFill>
        <p:spPr>
          <a:xfrm>
            <a:off x="1078206" y="1749959"/>
            <a:ext cx="361809" cy="361809"/>
          </a:xfrm>
          <a:prstGeom prst="rect">
            <a:avLst/>
          </a:prstGeom>
        </p:spPr>
      </p:pic>
      <p:pic>
        <p:nvPicPr>
          <p:cNvPr id="14" name="Facebook icon with link">
            <a:hlinkClick r:id="rId9"/>
            <a:extLst>
              <a:ext uri="{FF2B5EF4-FFF2-40B4-BE49-F238E27FC236}">
                <a16:creationId xmlns:a16="http://schemas.microsoft.com/office/drawing/2014/main" id="{2F0BB96A-1F55-4D49-8BC7-DCE332FFA2FB}"/>
              </a:ext>
            </a:extLst>
          </p:cNvPr>
          <p:cNvPicPr>
            <a:picLocks noChangeAspect="1"/>
          </p:cNvPicPr>
          <p:nvPr userDrawn="1"/>
        </p:nvPicPr>
        <p:blipFill>
          <a:blip r:embed="rId10" cstate="hqprint">
            <a:extLst>
              <a:ext uri="{28A0092B-C50C-407E-A947-70E740481C1C}">
                <a14:useLocalDpi xmlns:a14="http://schemas.microsoft.com/office/drawing/2010/main"/>
              </a:ext>
            </a:extLst>
          </a:blip>
          <a:srcRect/>
          <a:stretch/>
        </p:blipFill>
        <p:spPr>
          <a:xfrm>
            <a:off x="487670" y="1749063"/>
            <a:ext cx="363600" cy="363600"/>
          </a:xfrm>
          <a:prstGeom prst="rect">
            <a:avLst/>
          </a:prstGeom>
        </p:spPr>
      </p:pic>
      <p:sp>
        <p:nvSpPr>
          <p:cNvPr id="16" name="Picture Placeholder 3" descr="{&quot;templafy&quot;:{&quot;id&quot;:&quot;12456422-90ec-4b55-994a-257485c60c70&quot;}}">
            <a:extLst>
              <a:ext uri="{FF2B5EF4-FFF2-40B4-BE49-F238E27FC236}">
                <a16:creationId xmlns:a16="http://schemas.microsoft.com/office/drawing/2014/main" id="{FD89476E-6ECD-3048-8FCE-A05992F255BE}"/>
              </a:ext>
            </a:extLst>
          </p:cNvPr>
          <p:cNvSpPr>
            <a:spLocks noGrp="1"/>
          </p:cNvSpPr>
          <p:nvPr>
            <p:ph type="pic" sz="quarter" idx="13" hasCustomPrompt="1"/>
          </p:nvPr>
        </p:nvSpPr>
        <p:spPr>
          <a:xfrm>
            <a:off x="528714" y="522453"/>
            <a:ext cx="4116387" cy="252000"/>
          </a:xfrm>
        </p:spPr>
        <p:txBody>
          <a:bodyPr anchor="ctr" anchorCtr="0">
            <a:normAutofit/>
          </a:bodyPr>
          <a:lstStyle>
            <a:lvl1pPr>
              <a:defRPr sz="1400"/>
            </a:lvl1pPr>
          </a:lstStyle>
          <a:p>
            <a:r>
              <a:rPr lang="en-US"/>
              <a:t>Add sub brand logo</a:t>
            </a:r>
          </a:p>
        </p:txBody>
      </p:sp>
      <p:pic>
        <p:nvPicPr>
          <p:cNvPr id="29465382" name="Picture Placeholder 7" descr="{&quot;templafy&quot;:{&quot;id&quot;:&quot;3126a666-7d0d-4cd4-b0ac-259ddb325b95&quot;}}"/>
          <p:cNvPicPr>
            <a:picLocks noChangeAspect="1"/>
          </p:cNvPicPr>
          <p:nvPr/>
        </p:nvPicPr>
        <p:blipFill>
          <a:blip r:embed="rId11"/>
          <a:stretch>
            <a:fillRect/>
          </a:stretch>
        </p:blipFill>
        <p:spPr>
          <a:xfrm>
            <a:off x="9948672" y="6217920"/>
            <a:ext cx="1963082" cy="365792"/>
          </a:xfrm>
          <a:prstGeom prst="rect">
            <a:avLst/>
          </a:prstGeom>
        </p:spPr>
      </p:pic>
    </p:spTree>
    <p:extLst>
      <p:ext uri="{BB962C8B-B14F-4D97-AF65-F5344CB8AC3E}">
        <p14:creationId xmlns:p14="http://schemas.microsoft.com/office/powerpoint/2010/main" val="8754121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9813951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Text - blue">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54110005"/>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226739806"/>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sp>
        <p:nvSpPr>
          <p:cNvPr id="5" name="LogoBlue-Dynamic" descr="{&quot;templafy&quot;:{&quot;id&quot;:&quot;fe2b2953-dbb5-4951-9e83-378a87fff01e&quot;}}">
            <a:extLst>
              <a:ext uri="{FF2B5EF4-FFF2-40B4-BE49-F238E27FC236}">
                <a16:creationId xmlns:a16="http://schemas.microsoft.com/office/drawing/2014/main" id="{FF7B8CD0-1BFA-08E1-444C-DB5F568BB12F}"/>
              </a:ext>
            </a:extLst>
          </p:cNvPr>
          <p:cNvSpPr>
            <a:spLocks/>
          </p:cNvSpPr>
          <p:nvPr userDrawn="1"/>
        </p:nvSpPr>
        <p:spPr bwMode="gray">
          <a:xfrm>
            <a:off x="288006" y="360000"/>
            <a:ext cx="4320000" cy="360000"/>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6" name="Classification-Dynamic" descr="{&quot;templafy&quot;:{&quot;id&quot;:&quot;5dc912d9-6625-48ba-be2a-562d916fd628&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endParaRPr lang="en-US" sz="1000" b="0" i="0" kern="0">
              <a:solidFill>
                <a:schemeClr val="tx1"/>
              </a:solidFill>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67284012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704">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lue cover, anvil and image">
    <p:bg>
      <p:bgRef idx="1001">
        <a:schemeClr val="bg1"/>
      </p:bgRef>
    </p:bg>
    <p:spTree>
      <p:nvGrpSpPr>
        <p:cNvPr id="1" name=""/>
        <p:cNvGrpSpPr/>
        <p:nvPr/>
      </p:nvGrpSpPr>
      <p:grpSpPr>
        <a:xfrm>
          <a:off x="0" y="0"/>
          <a:ext cx="0" cy="0"/>
          <a:chOff x="0" y="0"/>
          <a:chExt cx="0" cy="0"/>
        </a:xfrm>
      </p:grpSpPr>
      <p:pic>
        <p:nvPicPr>
          <p:cNvPr id="10" name="Image 0" descr="preencoded.png">
            <a:extLst>
              <a:ext uri="{FF2B5EF4-FFF2-40B4-BE49-F238E27FC236}">
                <a16:creationId xmlns:a16="http://schemas.microsoft.com/office/drawing/2014/main" id="{9DE307C8-D1C3-00E2-C5B0-2A7EBB98138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0" y="0"/>
            <a:ext cx="12195175" cy="6861496"/>
          </a:xfrm>
          <a:prstGeom prst="rect">
            <a:avLst/>
          </a:prstGeom>
        </p:spPr>
      </p:pic>
      <p:pic>
        <p:nvPicPr>
          <p:cNvPr id="11" name="Image 1" descr="preencoded.png">
            <a:extLst>
              <a:ext uri="{FF2B5EF4-FFF2-40B4-BE49-F238E27FC236}">
                <a16:creationId xmlns:a16="http://schemas.microsoft.com/office/drawing/2014/main" id="{6C575B3E-49FD-8450-F2CB-84C6E7A1153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752355" y="1156532"/>
            <a:ext cx="5613722" cy="2756252"/>
          </a:xfrm>
          <a:prstGeom prst="rect">
            <a:avLst/>
          </a:prstGeom>
        </p:spPr>
      </p:pic>
      <p:pic>
        <p:nvPicPr>
          <p:cNvPr id="28936725" name="Acquired Company Logo Placeholder" descr="{&quot;templafy&quot;:{&quot;id&quot;:&quot;e24a6e43-600a-4c6b-89de-bcf3787a4fa8&quot;}}" hidden="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287338" y="2206502"/>
            <a:ext cx="5567804" cy="997196"/>
          </a:xfrm>
        </p:spPr>
        <p:txBody>
          <a:bodyPr anchor="b" anchorCtr="0">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2" name="LogoWhite-Dynamic" descr="{&quot;templafy&quot;:{&quot;id&quot;:&quot;7ab51d8b-641a-4d77-971a-5be19ba61dee&quot;}}">
            <a:extLst>
              <a:ext uri="{FF2B5EF4-FFF2-40B4-BE49-F238E27FC236}">
                <a16:creationId xmlns:a16="http://schemas.microsoft.com/office/drawing/2014/main" id="{032494F6-48CD-A02A-329B-1D3AE74E0E9C}"/>
              </a:ext>
            </a:extLst>
          </p:cNvPr>
          <p:cNvSpPr>
            <a:spLocks/>
          </p:cNvSpPr>
          <p:nvPr userDrawn="1"/>
        </p:nvSpPr>
        <p:spPr bwMode="gray">
          <a:xfrm>
            <a:off x="288006" y="360000"/>
            <a:ext cx="4320000" cy="360000"/>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3" name="Classification-Dynamic" descr="{&quot;templafy&quot;:{&quot;id&quot;:&quot;9c9a2793-1b35-4567-9ea6-c7676e7dbed2&quot;}}">
            <a:extLst>
              <a:ext uri="{FF2B5EF4-FFF2-40B4-BE49-F238E27FC236}">
                <a16:creationId xmlns:a16="http://schemas.microsoft.com/office/drawing/2014/main" id="{A6D6797F-FF5B-BE1A-D940-2289CF2968F7}"/>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endParaRPr lang="en-US" sz="1000" b="0" i="0" kern="0">
              <a:solidFill>
                <a:schemeClr val="bg1"/>
              </a:solidFill>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4953680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Pr>
        <a:solidFill>
          <a:srgbClr val="28004A"/>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37E79459-E5C5-5E87-E38B-80855D38E462}"/>
              </a:ext>
            </a:extLst>
          </p:cNvPr>
          <p:cNvSpPr/>
          <p:nvPr userDrawn="1"/>
        </p:nvSpPr>
        <p:spPr bwMode="gray">
          <a:xfrm>
            <a:off x="-1" y="0"/>
            <a:ext cx="12195175" cy="6858000"/>
          </a:xfrm>
          <a:prstGeom prst="rect">
            <a:avLst/>
          </a:prstGeom>
          <a:solidFill>
            <a:srgbClr val="28004A"/>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99111" y="1216759"/>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5" name="LogoWhite-Dynamic" descr="{&quot;templafy&quot;:{&quot;id&quot;:&quot;5fa88c47-49b5-4240-ba31-c826449c3c10&quot;}}">
            <a:extLst>
              <a:ext uri="{FF2B5EF4-FFF2-40B4-BE49-F238E27FC236}">
                <a16:creationId xmlns:a16="http://schemas.microsoft.com/office/drawing/2014/main" id="{1B320325-E461-1EF2-0F59-CB86E0E6F9E5}"/>
              </a:ext>
            </a:extLst>
          </p:cNvPr>
          <p:cNvSpPr>
            <a:spLocks/>
          </p:cNvSpPr>
          <p:nvPr userDrawn="1"/>
        </p:nvSpPr>
        <p:spPr bwMode="gray">
          <a:xfrm>
            <a:off x="288006" y="360000"/>
            <a:ext cx="4320000" cy="360000"/>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7" name="Classification-Dynamic" descr="{&quot;templafy&quot;:{&quot;id&quot;:&quot;5d0444a7-39b6-417a-b182-580f3a90309d&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endParaRPr lang="en-US" sz="1000" b="0" i="0" kern="0">
              <a:solidFill>
                <a:schemeClr val="bg1"/>
              </a:solidFill>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704633936"/>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8" y="0"/>
            <a:ext cx="5092917" cy="6858000"/>
          </a:xfrm>
          <a:prstGeom prst="rect">
            <a:avLst/>
          </a:prstGeom>
          <a:solidFill>
            <a:srgbClr val="FFC932"/>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6" name="Graphic 5">
            <a:extLst>
              <a:ext uri="{FF2B5EF4-FFF2-40B4-BE49-F238E27FC236}">
                <a16:creationId xmlns:a16="http://schemas.microsoft.com/office/drawing/2014/main" id="{F9CF98F2-AE93-6F6D-B5F5-C2F74E0787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67600" y="250521"/>
            <a:ext cx="4538091" cy="6328079"/>
          </a:xfrm>
          <a:prstGeom prst="rect">
            <a:avLst/>
          </a:prstGeom>
        </p:spPr>
      </p:pic>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6300" cy="6858000"/>
          </a:xfrm>
          <a:prstGeom prst="rect">
            <a:avLst/>
          </a:prstGeom>
          <a:solidFill>
            <a:schemeClr val="accent1"/>
          </a:solidFill>
          <a:ln w="1342"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6633305" cy="997196"/>
          </a:xfrm>
        </p:spPr>
        <p:txBody>
          <a:bodyPr anchor="b" anchorCtr="0">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3" name="LogoWhite-Dynamic" descr="{&quot;templafy&quot;:{&quot;id&quot;:&quot;a9ad5893-7d0f-457a-a16b-1f43a6680065&quot;}}">
            <a:extLst>
              <a:ext uri="{FF2B5EF4-FFF2-40B4-BE49-F238E27FC236}">
                <a16:creationId xmlns:a16="http://schemas.microsoft.com/office/drawing/2014/main" id="{0B97AABB-AB35-5D1E-370F-103F22E1157F}"/>
              </a:ext>
            </a:extLst>
          </p:cNvPr>
          <p:cNvSpPr>
            <a:spLocks/>
          </p:cNvSpPr>
          <p:nvPr userDrawn="1"/>
        </p:nvSpPr>
        <p:spPr bwMode="gray">
          <a:xfrm>
            <a:off x="288006" y="360000"/>
            <a:ext cx="4320000" cy="360000"/>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8" name="Classification-Dynamic" descr="{&quot;templafy&quot;:{&quot;id&quot;:&quot;39105712-80fa-4451-9e2c-202c39c718af&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endParaRPr lang="en-US" sz="1000" b="0" i="0" kern="0">
              <a:solidFill>
                <a:schemeClr val="bg1"/>
              </a:solidFill>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783191449"/>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97DD40"/>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89bc00d0-dad5-43f8-aca3-28ccc0c0c3f0&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endParaRPr lang="en-US" sz="1000" b="0" i="0" kern="0">
              <a:solidFill>
                <a:schemeClr val="tx1"/>
              </a:solidFill>
              <a:latin typeface="72 Brand" panose="020B0504030603020204" pitchFamily="34" charset="0"/>
              <a:ea typeface="Arial Unicode MS" pitchFamily="34" charset="-128"/>
              <a:cs typeface="Arial Unicode MS" pitchFamily="34" charset="-128"/>
            </a:endParaRPr>
          </a:p>
        </p:txBody>
      </p:sp>
      <p:sp>
        <p:nvSpPr>
          <p:cNvPr id="3" name="LogoBlack-Dynamic" descr="{&quot;templafy&quot;:{&quot;id&quot;:&quot;eb3fcb57-193c-4ae3-9b54-71ea36905991&quot;}}">
            <a:extLst>
              <a:ext uri="{FF2B5EF4-FFF2-40B4-BE49-F238E27FC236}">
                <a16:creationId xmlns:a16="http://schemas.microsoft.com/office/drawing/2014/main" id="{9890E76A-908A-C687-D029-53FB8DB3A88D}"/>
              </a:ext>
            </a:extLst>
          </p:cNvPr>
          <p:cNvSpPr>
            <a:spLocks/>
          </p:cNvSpPr>
          <p:nvPr userDrawn="1"/>
        </p:nvSpPr>
        <p:spPr bwMode="gray">
          <a:xfrm>
            <a:off x="288006" y="360000"/>
            <a:ext cx="4320000" cy="360000"/>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191199530"/>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sp>
        <p:nvSpPr>
          <p:cNvPr id="6" name="LogoBlue-Dynamic" descr="{&quot;templafy&quot;:{&quot;id&quot;:&quot;cf861dc0-211c-4c86-aefb-72e52d754784&quot;}}">
            <a:extLst>
              <a:ext uri="{FF2B5EF4-FFF2-40B4-BE49-F238E27FC236}">
                <a16:creationId xmlns:a16="http://schemas.microsoft.com/office/drawing/2014/main" id="{910E499D-8DEA-41A7-80A4-13BE1C7038A4}"/>
              </a:ext>
            </a:extLst>
          </p:cNvPr>
          <p:cNvSpPr>
            <a:spLocks/>
          </p:cNvSpPr>
          <p:nvPr userDrawn="1"/>
        </p:nvSpPr>
        <p:spPr bwMode="gray">
          <a:xfrm>
            <a:off x="288006" y="6218600"/>
            <a:ext cx="4320000" cy="360000"/>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9" name="Classification-Dynamic" descr="{&quot;templafy&quot;:{&quot;id&quot;:&quot;a573f6f3-7d23-4762-bcc9-dce363ed239d&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endParaRPr lang="en-US" sz="1000" b="0" i="0" kern="0">
              <a:solidFill>
                <a:schemeClr val="tx1"/>
              </a:solidFill>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9485181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4109527874"/>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1" y="1275473"/>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97DD40"/>
          </a:solidFill>
          <a:ln w="7155"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5" name="LogoBlue-Dynamic" descr="{&quot;templafy&quot;:{&quot;id&quot;:&quot;458a12a9-d7ed-48bf-ad72-9c21dd533b8d&quot;}}">
            <a:extLst>
              <a:ext uri="{FF2B5EF4-FFF2-40B4-BE49-F238E27FC236}">
                <a16:creationId xmlns:a16="http://schemas.microsoft.com/office/drawing/2014/main" id="{65992DD7-F456-F593-DE55-17D43CC1A2C0}"/>
              </a:ext>
            </a:extLst>
          </p:cNvPr>
          <p:cNvSpPr>
            <a:spLocks/>
          </p:cNvSpPr>
          <p:nvPr userDrawn="1"/>
        </p:nvSpPr>
        <p:spPr bwMode="gray">
          <a:xfrm>
            <a:off x="288006" y="360000"/>
            <a:ext cx="4320000" cy="360000"/>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11" name="Classification-Dynamic" descr="{&quot;templafy&quot;:{&quot;id&quot;:&quot;fb2655f9-5dfd-4646-9675-72748fa05a8f&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endParaRPr lang="en-US" sz="1000" b="0" i="0" kern="0">
              <a:solidFill>
                <a:schemeClr val="tx1"/>
              </a:solidFill>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57813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5" y="1275473"/>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4" name="LogoBlack-Dynamic" descr="{&quot;templafy&quot;:{&quot;id&quot;:&quot;9e8a901f-ae05-468a-9251-f1c68af9caef&quot;}}">
            <a:extLst>
              <a:ext uri="{FF2B5EF4-FFF2-40B4-BE49-F238E27FC236}">
                <a16:creationId xmlns:a16="http://schemas.microsoft.com/office/drawing/2014/main" id="{2637A33E-C6A7-7C2A-3068-C4A803D3573D}"/>
              </a:ext>
            </a:extLst>
          </p:cNvPr>
          <p:cNvSpPr>
            <a:spLocks/>
          </p:cNvSpPr>
          <p:nvPr userDrawn="1"/>
        </p:nvSpPr>
        <p:spPr bwMode="gray">
          <a:xfrm>
            <a:off x="288006" y="360000"/>
            <a:ext cx="4320000" cy="360000"/>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3" name="Classification-Dynamic" descr="{&quot;templafy&quot;:{&quot;id&quot;:&quot;9810d1d3-80d0-4ad0-8e9c-7726f0168b7e&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endParaRPr lang="en-US" sz="1000" b="0" i="0" kern="0">
              <a:solidFill>
                <a:schemeClr val="tx1"/>
              </a:solidFill>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42039785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57D2"/>
          </a:solidFill>
          <a:ln w="9264"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0" y="2706317"/>
            <a:ext cx="6876593"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2" name="LogoWhite-Dynamic" descr="{&quot;templafy&quot;:{&quot;id&quot;:&quot;09efa3e6-0fda-4a15-b9ce-abcdc77a0d4b&quot;}}">
            <a:extLst>
              <a:ext uri="{FF2B5EF4-FFF2-40B4-BE49-F238E27FC236}">
                <a16:creationId xmlns:a16="http://schemas.microsoft.com/office/drawing/2014/main" id="{1B2BA827-5E2B-B410-D729-E5CB1E58EDA4}"/>
              </a:ext>
            </a:extLst>
          </p:cNvPr>
          <p:cNvSpPr>
            <a:spLocks/>
          </p:cNvSpPr>
          <p:nvPr userDrawn="1"/>
        </p:nvSpPr>
        <p:spPr bwMode="gray">
          <a:xfrm>
            <a:off x="288006" y="360000"/>
            <a:ext cx="4320000" cy="360000"/>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3" name="Classification-Dynamic" descr="{&quot;templafy&quot;:{&quot;id&quot;:&quot;8d8974ae-096d-4e6f-a827-68da26ca0fc8&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endParaRPr lang="en-US" sz="1000" b="0" i="0" kern="0">
              <a:solidFill>
                <a:schemeClr val="bg1"/>
              </a:solidFill>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0814568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eal cover with anvil ">
    <p:bg>
      <p:bgRef idx="1001">
        <a:schemeClr val="bg1"/>
      </p:bgRef>
    </p:bg>
    <p:spTree>
      <p:nvGrpSpPr>
        <p:cNvPr id="1" name=""/>
        <p:cNvGrpSpPr/>
        <p:nvPr/>
      </p:nvGrpSpPr>
      <p:grpSpPr>
        <a:xfrm>
          <a:off x="0" y="0"/>
          <a:ext cx="0" cy="0"/>
          <a:chOff x="0" y="0"/>
          <a:chExt cx="0" cy="0"/>
        </a:xfrm>
      </p:grpSpPr>
      <p:sp>
        <p:nvSpPr>
          <p:cNvPr id="5"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00CEAC"/>
          </a:solidFill>
          <a:ln w="11289"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F36DF1A0-33EF-D4BF-029F-2435A3EF8C01}"/>
              </a:ext>
            </a:extLst>
          </p:cNvPr>
          <p:cNvSpPr/>
          <p:nvPr/>
        </p:nvSpPr>
        <p:spPr>
          <a:xfrm>
            <a:off x="870433" y="989322"/>
            <a:ext cx="9187967" cy="4528975"/>
          </a:xfrm>
          <a:custGeom>
            <a:avLst/>
            <a:gdLst>
              <a:gd name="connsiteX0" fmla="*/ 0 w 9187967"/>
              <a:gd name="connsiteY0" fmla="*/ 0 h 4528975"/>
              <a:gd name="connsiteX1" fmla="*/ 0 w 9187967"/>
              <a:gd name="connsiteY1" fmla="*/ 4528975 h 4528975"/>
              <a:gd name="connsiteX2" fmla="*/ 4669297 w 9187967"/>
              <a:gd name="connsiteY2" fmla="*/ 4528975 h 4528975"/>
              <a:gd name="connsiteX3" fmla="*/ 9187967 w 9187967"/>
              <a:gd name="connsiteY3" fmla="*/ 0 h 4528975"/>
              <a:gd name="connsiteX4" fmla="*/ 0 w 9187967"/>
              <a:gd name="connsiteY4" fmla="*/ 0 h 4528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967" h="4528975">
                <a:moveTo>
                  <a:pt x="0" y="0"/>
                </a:moveTo>
                <a:lnTo>
                  <a:pt x="0" y="4528975"/>
                </a:lnTo>
                <a:lnTo>
                  <a:pt x="4669297" y="4528975"/>
                </a:lnTo>
                <a:lnTo>
                  <a:pt x="9187967" y="0"/>
                </a:lnTo>
                <a:lnTo>
                  <a:pt x="0" y="0"/>
                </a:lnTo>
                <a:close/>
              </a:path>
            </a:pathLst>
          </a:custGeom>
          <a:solidFill>
            <a:srgbClr val="63EDD4"/>
          </a:solidFill>
          <a:ln w="12596" cap="flat">
            <a:noFill/>
            <a:prstDash val="solid"/>
            <a:miter/>
          </a:ln>
        </p:spPr>
        <p:txBody>
          <a:bodyPr rtlCol="0" anchor="ctr"/>
          <a:lstStyle/>
          <a:p>
            <a:endParaRPr lang="en-US"/>
          </a:p>
        </p:txBody>
      </p:sp>
      <p:sp>
        <p:nvSpPr>
          <p:cNvPr id="9" name="Title">
            <a:extLst>
              <a:ext uri="{FF2B5EF4-FFF2-40B4-BE49-F238E27FC236}">
                <a16:creationId xmlns:a16="http://schemas.microsoft.com/office/drawing/2014/main" id="{5515F5CA-E76C-CC3B-68A7-37E88873AB4B}"/>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2" name="LogoBlack-Dynamic" descr="{&quot;templafy&quot;:{&quot;id&quot;:&quot;46e1348f-382f-407f-934d-5880cad7499d&quot;}}">
            <a:extLst>
              <a:ext uri="{FF2B5EF4-FFF2-40B4-BE49-F238E27FC236}">
                <a16:creationId xmlns:a16="http://schemas.microsoft.com/office/drawing/2014/main" id="{6F517C48-28CD-5089-ED8A-57BF0CC2794C}"/>
              </a:ext>
            </a:extLst>
          </p:cNvPr>
          <p:cNvSpPr>
            <a:spLocks/>
          </p:cNvSpPr>
          <p:nvPr userDrawn="1"/>
        </p:nvSpPr>
        <p:spPr bwMode="gray">
          <a:xfrm>
            <a:off x="288006" y="360000"/>
            <a:ext cx="4320000" cy="360000"/>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3" name="Classification-Dynamic" descr="{&quot;templafy&quot;:{&quot;id&quot;:&quot;288d2530-3410-45a4-99a9-aa2960ef1b9c&quot;}}">
            <a:extLst>
              <a:ext uri="{FF2B5EF4-FFF2-40B4-BE49-F238E27FC236}">
                <a16:creationId xmlns:a16="http://schemas.microsoft.com/office/drawing/2014/main" id="{BBFBBDC3-D031-6041-465D-9F7147F423CF}"/>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endParaRPr lang="en-US" sz="1000" b="0" i="0" kern="0">
              <a:solidFill>
                <a:schemeClr val="tx1"/>
              </a:solidFill>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0343626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5" name="LogoBlue-Dynamic" descr="{&quot;templafy&quot;:{&quot;id&quot;:&quot;da80adbd-4570-4d7a-ba2d-31cc64ceb64c&quot;}}">
            <a:extLst>
              <a:ext uri="{FF2B5EF4-FFF2-40B4-BE49-F238E27FC236}">
                <a16:creationId xmlns:a16="http://schemas.microsoft.com/office/drawing/2014/main" id="{D1190656-DEBD-FEA9-516B-DD318272D18E}"/>
              </a:ext>
            </a:extLst>
          </p:cNvPr>
          <p:cNvSpPr>
            <a:spLocks/>
          </p:cNvSpPr>
          <p:nvPr userDrawn="1"/>
        </p:nvSpPr>
        <p:spPr bwMode="gray">
          <a:xfrm>
            <a:off x="288006" y="360000"/>
            <a:ext cx="4320000" cy="360000"/>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3" name="Classification-Dynamic" descr="{&quot;templafy&quot;:{&quot;id&quot;:&quot;e67c3e34-8f39-488a-9614-a387790f8dbd&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endParaRPr lang="en-US" sz="1000" b="0" i="0" kern="0">
              <a:solidFill>
                <a:schemeClr val="tx1"/>
              </a:solidFill>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2045940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0"/>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3" name="LogoWhite-Dynamic" descr="{&quot;templafy&quot;:{&quot;id&quot;:&quot;5e201e0d-4dce-4765-b6b3-19e7ac0b5376&quot;}}">
            <a:extLst>
              <a:ext uri="{FF2B5EF4-FFF2-40B4-BE49-F238E27FC236}">
                <a16:creationId xmlns:a16="http://schemas.microsoft.com/office/drawing/2014/main" id="{DAF77494-7969-7420-F0E8-876B83E39BD5}"/>
              </a:ext>
            </a:extLst>
          </p:cNvPr>
          <p:cNvSpPr>
            <a:spLocks/>
          </p:cNvSpPr>
          <p:nvPr userDrawn="1"/>
        </p:nvSpPr>
        <p:spPr bwMode="gray">
          <a:xfrm>
            <a:off x="288006" y="360000"/>
            <a:ext cx="4320000" cy="360000"/>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5" name="Classification-Dynamic" descr="{&quot;templafy&quot;:{&quot;id&quot;:&quot;31d6c9cb-a745-45ac-971c-41068cedea6b&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endParaRPr lang="en-US" sz="1000" b="0" i="0" kern="0">
              <a:solidFill>
                <a:schemeClr val="bg1"/>
              </a:solidFill>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2001166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558" rtl="0" eaLnBrk="1" fontAlgn="auto" latinLnBrk="0" hangingPunct="1">
              <a:lnSpc>
                <a:spcPct val="100000"/>
              </a:lnSpc>
              <a:spcBef>
                <a:spcPts val="3000"/>
              </a:spcBef>
              <a:spcAft>
                <a:spcPts val="0"/>
              </a:spcAft>
              <a:buClr>
                <a:schemeClr val="tx1"/>
              </a:buClr>
              <a:buSzPct val="100000"/>
              <a:buFont typeface="Roboto" panose="02000000000000000000" pitchFamily="2" charset="0"/>
              <a:buChar char="​"/>
              <a:tabLst/>
              <a:defRPr sz="2000" b="0"/>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272695829"/>
      </p:ext>
    </p:extLst>
  </p:cSld>
  <p:clrMapOvr>
    <a:masterClrMapping/>
  </p:clrMapOvr>
  <p:extLst>
    <p:ext uri="{DCECCB84-F9BA-43D5-87BE-67443E8EF086}">
      <p15:sldGuideLst xmlns:p15="http://schemas.microsoft.com/office/powerpoint/2012/main">
        <p15:guide id="1" pos="303">
          <p15:clr>
            <a:srgbClr val="FBAE40"/>
          </p15:clr>
        </p15:guide>
        <p15:guide id="2" orient="horz" pos="981">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608990672"/>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61411405"/>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1229267361"/>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1008985274"/>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17"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0" y="1557338"/>
            <a:ext cx="11186477" cy="4787900"/>
          </a:xfrm>
        </p:spPr>
        <p:txBody>
          <a:bodyPr/>
          <a:lstStyle>
            <a:lvl1pPr>
              <a:defRPr/>
            </a:lvl1pPr>
          </a:lstStyle>
          <a:p>
            <a:pPr lvl="0"/>
            <a:r>
              <a:rPr lang="en-GB"/>
              <a:t>Start typing to add text without a bullet point. To add a bullet point, place the cursor at the start of this line and press tab.</a:t>
            </a:r>
            <a:endParaRPr lang="en-US" noProof="0"/>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457769074"/>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306008667"/>
      </p:ext>
    </p:extLst>
  </p:cSld>
  <p:clrMapOvr>
    <a:masterClrMapping/>
  </p:clrMapOvr>
  <p:extLst>
    <p:ext uri="{DCECCB84-F9BA-43D5-87BE-67443E8EF086}">
      <p15:sldGuideLst xmlns:p15="http://schemas.microsoft.com/office/powerpoint/2012/main">
        <p15:guide id="1" pos="317">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8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9379547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399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2582496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85477039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92471529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0" i="0">
                <a:latin typeface="72 Brand Medium" panose="020B0504030603020204" pitchFamily="34" charset="0"/>
              </a:defRPr>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853766961"/>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327420390"/>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11235399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4385716"/>
      </p:ext>
    </p:extLst>
  </p:cSld>
  <p:clrMapOvr>
    <a:masterClrMapping/>
  </p:clrMapOvr>
  <p:extLst>
    <p:ext uri="{DCECCB84-F9BA-43D5-87BE-67443E8EF086}">
      <p15:sldGuideLst xmlns:p15="http://schemas.microsoft.com/office/powerpoint/2012/main">
        <p15:guide id="1" pos="317">
          <p15:clr>
            <a:srgbClr val="FBAE40"/>
          </p15:clr>
        </p15:guide>
        <p15:guide id="2" orient="horz" pos="981">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38172563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1126419"/>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95d77238-d67a-4d56-ab6d-ac83d72e8fc8&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3 SAP SE or an SAP affiliate company. All rights reserved. See Legal Notice on www.sap.com/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500"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1351432036"/>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4128C6-C850-D724-05DE-02FCDB7BE01D}"/>
              </a:ext>
            </a:extLst>
          </p:cNvPr>
          <p:cNvSpPr>
            <a:spLocks noGrp="1"/>
          </p:cNvSpPr>
          <p:nvPr>
            <p:ph type="sldNum" sz="quarter" idx="10"/>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228812574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Image Page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6CC7A50-9125-422E-BB9C-AB1644207021}"/>
              </a:ext>
            </a:extLst>
          </p:cNvPr>
          <p:cNvSpPr>
            <a:spLocks noGrp="1"/>
          </p:cNvSpPr>
          <p:nvPr>
            <p:ph type="pic" sz="quarter" idx="10" hasCustomPrompt="1"/>
          </p:nvPr>
        </p:nvSpPr>
        <p:spPr>
          <a:xfrm>
            <a:off x="676451" y="628650"/>
            <a:ext cx="10842273" cy="5600700"/>
          </a:xfrm>
          <a:prstGeom prst="rect">
            <a:avLst/>
          </a:prstGeom>
          <a:pattFill prst="wdDnDiag">
            <a:fgClr>
              <a:schemeClr val="tx1">
                <a:lumMod val="25000"/>
                <a:lumOff val="75000"/>
              </a:schemeClr>
            </a:fgClr>
            <a:bgClr>
              <a:schemeClr val="bg1"/>
            </a:bgClr>
          </a:pattFill>
        </p:spPr>
        <p:txBody>
          <a:bodyPr anchor="ctr"/>
          <a:lstStyle>
            <a:lvl1pPr marL="0" indent="0" algn="ctr">
              <a:buNone/>
              <a:defRPr b="0" i="0">
                <a:latin typeface="72" panose="020B0503030000000003" pitchFamily="34" charset="0"/>
              </a:defRPr>
            </a:lvl1pPr>
          </a:lstStyle>
          <a:p>
            <a:r>
              <a:rPr lang="en-MY"/>
              <a:t>Insert your image here</a:t>
            </a:r>
          </a:p>
        </p:txBody>
      </p:sp>
      <p:sp>
        <p:nvSpPr>
          <p:cNvPr id="2" name="Slide Number Placeholder 1">
            <a:extLst>
              <a:ext uri="{FF2B5EF4-FFF2-40B4-BE49-F238E27FC236}">
                <a16:creationId xmlns:a16="http://schemas.microsoft.com/office/drawing/2014/main" id="{948958D2-8097-EF11-6B6A-F79284FE54F6}"/>
              </a:ext>
            </a:extLst>
          </p:cNvPr>
          <p:cNvSpPr>
            <a:spLocks noGrp="1"/>
          </p:cNvSpPr>
          <p:nvPr>
            <p:ph type="sldNum" sz="quarter" idx="11"/>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338742498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Subtitle Page with Image 4">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B4F4CA74-FF97-442F-BAA1-F965D0122B0D}"/>
              </a:ext>
            </a:extLst>
          </p:cNvPr>
          <p:cNvSpPr>
            <a:spLocks noGrp="1"/>
          </p:cNvSpPr>
          <p:nvPr>
            <p:ph type="pic" sz="quarter" idx="11" hasCustomPrompt="1"/>
          </p:nvPr>
        </p:nvSpPr>
        <p:spPr>
          <a:xfrm>
            <a:off x="1067084" y="1280160"/>
            <a:ext cx="10082625" cy="4339140"/>
          </a:xfrm>
          <a:prstGeom prst="roundRect">
            <a:avLst>
              <a:gd name="adj" fmla="val 4256"/>
            </a:avLst>
          </a:prstGeom>
          <a:pattFill prst="wdDnDiag">
            <a:fgClr>
              <a:schemeClr val="tx1">
                <a:lumMod val="25000"/>
                <a:lumOff val="75000"/>
              </a:schemeClr>
            </a:fgClr>
            <a:bgClr>
              <a:schemeClr val="bg1"/>
            </a:bgClr>
          </a:pattFill>
        </p:spPr>
        <p:txBody>
          <a:bodyPr anchor="ctr"/>
          <a:lstStyle>
            <a:lvl1pPr marL="0" indent="0" algn="ctr">
              <a:buNone/>
              <a:defRPr b="0" i="0">
                <a:latin typeface="72" panose="020B0503030000000003" pitchFamily="34" charset="0"/>
              </a:defRPr>
            </a:lvl1pPr>
          </a:lstStyle>
          <a:p>
            <a:r>
              <a:rPr lang="en-MY"/>
              <a:t>Insert your image here</a:t>
            </a:r>
          </a:p>
        </p:txBody>
      </p:sp>
      <p:sp>
        <p:nvSpPr>
          <p:cNvPr id="2" name="Slide Number Placeholder 1">
            <a:extLst>
              <a:ext uri="{FF2B5EF4-FFF2-40B4-BE49-F238E27FC236}">
                <a16:creationId xmlns:a16="http://schemas.microsoft.com/office/drawing/2014/main" id="{6167DEEF-352C-BC99-9F8C-C2FC67A4BF24}"/>
              </a:ext>
            </a:extLst>
          </p:cNvPr>
          <p:cNvSpPr>
            <a:spLocks noGrp="1"/>
          </p:cNvSpPr>
          <p:nvPr>
            <p:ph type="sldNum" sz="quarter" idx="12"/>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210610342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Horizontal Title page - Timelin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419" y="371728"/>
            <a:ext cx="10518338" cy="886732"/>
          </a:xfrm>
          <a:prstGeom prst="rect">
            <a:avLst/>
          </a:prstGeom>
        </p:spPr>
        <p:txBody>
          <a:bodyPr anchor="ctr"/>
          <a:lstStyle>
            <a:lvl1pPr algn="ctr">
              <a:defRPr sz="3594" b="0" i="0">
                <a:solidFill>
                  <a:schemeClr val="tx1"/>
                </a:solidFill>
                <a:latin typeface="72" panose="020B0503030000000003" pitchFamily="34" charset="0"/>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397" y="1051062"/>
            <a:ext cx="9146381" cy="436562"/>
          </a:xfrm>
          <a:prstGeom prst="rect">
            <a:avLst/>
          </a:prstGeom>
        </p:spPr>
        <p:txBody>
          <a:bodyPr>
            <a:normAutofit/>
          </a:bodyPr>
          <a:lstStyle>
            <a:lvl1pPr marL="0" indent="0" algn="ctr">
              <a:buNone/>
              <a:defRPr sz="1794" b="0" i="0">
                <a:solidFill>
                  <a:schemeClr val="tx1"/>
                </a:solidFill>
                <a:latin typeface="72" panose="020B0503030000000003" pitchFamily="34" charset="0"/>
              </a:defRPr>
            </a:lvl1pPr>
            <a:lvl2pPr marL="456378" indent="0" algn="ctr">
              <a:buNone/>
              <a:defRPr sz="1994"/>
            </a:lvl2pPr>
            <a:lvl3pPr marL="912756" indent="0" algn="ctr">
              <a:buNone/>
              <a:defRPr sz="1794"/>
            </a:lvl3pPr>
            <a:lvl4pPr marL="1369134" indent="0" algn="ctr">
              <a:buNone/>
              <a:defRPr sz="1600"/>
            </a:lvl4pPr>
            <a:lvl5pPr marL="1825511" indent="0" algn="ctr">
              <a:buNone/>
              <a:defRPr sz="1600"/>
            </a:lvl5pPr>
            <a:lvl6pPr marL="2281888" indent="0" algn="ctr">
              <a:buNone/>
              <a:defRPr sz="1600"/>
            </a:lvl6pPr>
            <a:lvl7pPr marL="2738266" indent="0" algn="ctr">
              <a:buNone/>
              <a:defRPr sz="1600"/>
            </a:lvl7pPr>
            <a:lvl8pPr marL="3194643" indent="0" algn="ctr">
              <a:buNone/>
              <a:defRPr sz="1600"/>
            </a:lvl8pPr>
            <a:lvl9pPr marL="3651021" indent="0" algn="ctr">
              <a:buNone/>
              <a:defRPr sz="1600"/>
            </a:lvl9pPr>
          </a:lstStyle>
          <a:p>
            <a:r>
              <a:rPr lang="en-US"/>
              <a:t>Insert your awesome subtitle here</a:t>
            </a:r>
            <a:endParaRPr lang="en-MY"/>
          </a:p>
        </p:txBody>
      </p:sp>
      <p:sp>
        <p:nvSpPr>
          <p:cNvPr id="2" name="Slide Number Placeholder 1">
            <a:extLst>
              <a:ext uri="{FF2B5EF4-FFF2-40B4-BE49-F238E27FC236}">
                <a16:creationId xmlns:a16="http://schemas.microsoft.com/office/drawing/2014/main" id="{D43590ED-801A-C59A-3AAD-C6983933557C}"/>
              </a:ext>
            </a:extLst>
          </p:cNvPr>
          <p:cNvSpPr>
            <a:spLocks noGrp="1"/>
          </p:cNvSpPr>
          <p:nvPr>
            <p:ph type="sldNum" sz="quarter" idx="10"/>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264205774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Basic Paragraph Slid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419" y="371728"/>
            <a:ext cx="10518338" cy="886732"/>
          </a:xfrm>
          <a:prstGeom prst="rect">
            <a:avLst/>
          </a:prstGeom>
        </p:spPr>
        <p:txBody>
          <a:bodyPr anchor="ctr"/>
          <a:lstStyle>
            <a:lvl1pPr algn="ctr">
              <a:defRPr sz="3594" b="0" i="0">
                <a:solidFill>
                  <a:schemeClr val="tx1"/>
                </a:solidFill>
                <a:latin typeface="72" panose="020B0503030000000003" pitchFamily="34" charset="0"/>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397" y="1051062"/>
            <a:ext cx="9146381" cy="436562"/>
          </a:xfrm>
          <a:prstGeom prst="rect">
            <a:avLst/>
          </a:prstGeom>
        </p:spPr>
        <p:txBody>
          <a:bodyPr>
            <a:normAutofit/>
          </a:bodyPr>
          <a:lstStyle>
            <a:lvl1pPr marL="0" indent="0" algn="ctr">
              <a:buNone/>
              <a:defRPr sz="1794" b="0" i="0">
                <a:solidFill>
                  <a:schemeClr val="tx1"/>
                </a:solidFill>
                <a:latin typeface="72" panose="020B0503030000000003" pitchFamily="34" charset="0"/>
              </a:defRPr>
            </a:lvl1pPr>
            <a:lvl2pPr marL="456378" indent="0" algn="ctr">
              <a:buNone/>
              <a:defRPr sz="1994"/>
            </a:lvl2pPr>
            <a:lvl3pPr marL="912756" indent="0" algn="ctr">
              <a:buNone/>
              <a:defRPr sz="1794"/>
            </a:lvl3pPr>
            <a:lvl4pPr marL="1369134" indent="0" algn="ctr">
              <a:buNone/>
              <a:defRPr sz="1600"/>
            </a:lvl4pPr>
            <a:lvl5pPr marL="1825511" indent="0" algn="ctr">
              <a:buNone/>
              <a:defRPr sz="1600"/>
            </a:lvl5pPr>
            <a:lvl6pPr marL="2281888" indent="0" algn="ctr">
              <a:buNone/>
              <a:defRPr sz="1600"/>
            </a:lvl6pPr>
            <a:lvl7pPr marL="2738266" indent="0" algn="ctr">
              <a:buNone/>
              <a:defRPr sz="1600"/>
            </a:lvl7pPr>
            <a:lvl8pPr marL="3194643" indent="0" algn="ctr">
              <a:buNone/>
              <a:defRPr sz="1600"/>
            </a:lvl8pPr>
            <a:lvl9pPr marL="3651021" indent="0" algn="ctr">
              <a:buNone/>
              <a:defRPr sz="1600"/>
            </a:lvl9pPr>
          </a:lstStyle>
          <a:p>
            <a:r>
              <a:rPr lang="en-US"/>
              <a:t>Insert your awesome subtitle here</a:t>
            </a:r>
            <a:endParaRPr lang="en-MY"/>
          </a:p>
        </p:txBody>
      </p:sp>
      <p:sp>
        <p:nvSpPr>
          <p:cNvPr id="2" name="Slide Number Placeholder 1">
            <a:extLst>
              <a:ext uri="{FF2B5EF4-FFF2-40B4-BE49-F238E27FC236}">
                <a16:creationId xmlns:a16="http://schemas.microsoft.com/office/drawing/2014/main" id="{D19F239E-DC38-806D-681D-44F57D11B500}"/>
              </a:ext>
            </a:extLst>
          </p:cNvPr>
          <p:cNvSpPr>
            <a:spLocks noGrp="1"/>
          </p:cNvSpPr>
          <p:nvPr>
            <p:ph type="sldNum" sz="quarter" idx="10"/>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1342646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Introduction with image 2">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252E625-E812-42F5-B3E3-909E135A7657}"/>
              </a:ext>
            </a:extLst>
          </p:cNvPr>
          <p:cNvSpPr>
            <a:spLocks noGrp="1"/>
          </p:cNvSpPr>
          <p:nvPr>
            <p:ph type="pic" sz="quarter" idx="10" hasCustomPrompt="1"/>
          </p:nvPr>
        </p:nvSpPr>
        <p:spPr>
          <a:xfrm>
            <a:off x="1799220" y="2364808"/>
            <a:ext cx="2128938" cy="2128384"/>
          </a:xfrm>
          <a:custGeom>
            <a:avLst/>
            <a:gdLst>
              <a:gd name="connsiteX0" fmla="*/ 1159555 w 2319110"/>
              <a:gd name="connsiteY0" fmla="*/ 0 h 2319110"/>
              <a:gd name="connsiteX1" fmla="*/ 2319110 w 2319110"/>
              <a:gd name="connsiteY1" fmla="*/ 1159555 h 2319110"/>
              <a:gd name="connsiteX2" fmla="*/ 1159555 w 2319110"/>
              <a:gd name="connsiteY2" fmla="*/ 2319110 h 2319110"/>
              <a:gd name="connsiteX3" fmla="*/ 0 w 2319110"/>
              <a:gd name="connsiteY3" fmla="*/ 1159555 h 2319110"/>
              <a:gd name="connsiteX4" fmla="*/ 1159555 w 2319110"/>
              <a:gd name="connsiteY4" fmla="*/ 0 h 2319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9110" h="2319110">
                <a:moveTo>
                  <a:pt x="1159555" y="0"/>
                </a:moveTo>
                <a:cubicBezTo>
                  <a:pt x="1799960" y="0"/>
                  <a:pt x="2319110" y="519150"/>
                  <a:pt x="2319110" y="1159555"/>
                </a:cubicBezTo>
                <a:cubicBezTo>
                  <a:pt x="2319110" y="1799960"/>
                  <a:pt x="1799960" y="2319110"/>
                  <a:pt x="1159555" y="2319110"/>
                </a:cubicBezTo>
                <a:cubicBezTo>
                  <a:pt x="519150" y="2319110"/>
                  <a:pt x="0" y="1799960"/>
                  <a:pt x="0" y="1159555"/>
                </a:cubicBezTo>
                <a:cubicBezTo>
                  <a:pt x="0" y="519150"/>
                  <a:pt x="519150" y="0"/>
                  <a:pt x="1159555" y="0"/>
                </a:cubicBezTo>
                <a:close/>
              </a:path>
            </a:pathLst>
          </a:custGeom>
          <a:pattFill prst="wdDnDiag">
            <a:fgClr>
              <a:schemeClr val="tx1">
                <a:lumMod val="25000"/>
                <a:lumOff val="75000"/>
              </a:schemeClr>
            </a:fgClr>
            <a:bgClr>
              <a:schemeClr val="bg1"/>
            </a:bgClr>
          </a:pattFill>
        </p:spPr>
        <p:txBody>
          <a:bodyPr wrap="square" anchor="ctr">
            <a:noAutofit/>
          </a:bodyPr>
          <a:lstStyle>
            <a:lvl1pPr marL="0" indent="0" algn="ctr">
              <a:buNone/>
              <a:defRPr sz="1794" b="0" i="0">
                <a:solidFill>
                  <a:schemeClr val="tx1"/>
                </a:solidFill>
                <a:latin typeface="72" panose="020B0503030000000003" pitchFamily="34" charset="0"/>
              </a:defRPr>
            </a:lvl1pPr>
          </a:lstStyle>
          <a:p>
            <a:r>
              <a:rPr lang="en-MY"/>
              <a:t>Insert your image here</a:t>
            </a:r>
          </a:p>
        </p:txBody>
      </p:sp>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419" y="371728"/>
            <a:ext cx="10518338" cy="886732"/>
          </a:xfrm>
          <a:prstGeom prst="rect">
            <a:avLst/>
          </a:prstGeom>
        </p:spPr>
        <p:txBody>
          <a:bodyPr anchor="ctr"/>
          <a:lstStyle>
            <a:lvl1pPr algn="ctr">
              <a:defRPr sz="3594" b="0" i="0">
                <a:solidFill>
                  <a:schemeClr val="tx1"/>
                </a:solidFill>
                <a:latin typeface="72" panose="020B0503030000000003" pitchFamily="34" charset="0"/>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397" y="1051062"/>
            <a:ext cx="9146381" cy="436562"/>
          </a:xfrm>
          <a:prstGeom prst="rect">
            <a:avLst/>
          </a:prstGeom>
        </p:spPr>
        <p:txBody>
          <a:bodyPr>
            <a:normAutofit/>
          </a:bodyPr>
          <a:lstStyle>
            <a:lvl1pPr marL="0" indent="0" algn="ctr">
              <a:buNone/>
              <a:defRPr sz="1794" b="0" i="0">
                <a:solidFill>
                  <a:schemeClr val="tx1"/>
                </a:solidFill>
                <a:latin typeface="72" panose="020B0503030000000003" pitchFamily="34" charset="0"/>
              </a:defRPr>
            </a:lvl1pPr>
            <a:lvl2pPr marL="456378" indent="0" algn="ctr">
              <a:buNone/>
              <a:defRPr sz="1994"/>
            </a:lvl2pPr>
            <a:lvl3pPr marL="912756" indent="0" algn="ctr">
              <a:buNone/>
              <a:defRPr sz="1794"/>
            </a:lvl3pPr>
            <a:lvl4pPr marL="1369134" indent="0" algn="ctr">
              <a:buNone/>
              <a:defRPr sz="1600"/>
            </a:lvl4pPr>
            <a:lvl5pPr marL="1825511" indent="0" algn="ctr">
              <a:buNone/>
              <a:defRPr sz="1600"/>
            </a:lvl5pPr>
            <a:lvl6pPr marL="2281888" indent="0" algn="ctr">
              <a:buNone/>
              <a:defRPr sz="1600"/>
            </a:lvl6pPr>
            <a:lvl7pPr marL="2738266" indent="0" algn="ctr">
              <a:buNone/>
              <a:defRPr sz="1600"/>
            </a:lvl7pPr>
            <a:lvl8pPr marL="3194643" indent="0" algn="ctr">
              <a:buNone/>
              <a:defRPr sz="1600"/>
            </a:lvl8pPr>
            <a:lvl9pPr marL="3651021" indent="0" algn="ctr">
              <a:buNone/>
              <a:defRPr sz="1600"/>
            </a:lvl9pPr>
          </a:lstStyle>
          <a:p>
            <a:r>
              <a:rPr lang="en-US"/>
              <a:t>Insert your awesome subtitle here</a:t>
            </a:r>
            <a:endParaRPr lang="en-MY"/>
          </a:p>
        </p:txBody>
      </p:sp>
      <p:sp>
        <p:nvSpPr>
          <p:cNvPr id="2" name="Slide Number Placeholder 1">
            <a:extLst>
              <a:ext uri="{FF2B5EF4-FFF2-40B4-BE49-F238E27FC236}">
                <a16:creationId xmlns:a16="http://schemas.microsoft.com/office/drawing/2014/main" id="{29614BE2-D59F-C982-7E9A-3D0660DEB476}"/>
              </a:ext>
            </a:extLst>
          </p:cNvPr>
          <p:cNvSpPr>
            <a:spLocks noGrp="1"/>
          </p:cNvSpPr>
          <p:nvPr>
            <p:ph type="sldNum" sz="quarter" idx="11"/>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8120223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Image - Core Valu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45D745E-FCB2-4D16-9390-09850FA79F60}"/>
              </a:ext>
            </a:extLst>
          </p:cNvPr>
          <p:cNvSpPr>
            <a:spLocks noGrp="1"/>
          </p:cNvSpPr>
          <p:nvPr>
            <p:ph type="pic" sz="quarter" idx="10" hasCustomPrompt="1"/>
          </p:nvPr>
        </p:nvSpPr>
        <p:spPr>
          <a:xfrm>
            <a:off x="0" y="0"/>
            <a:ext cx="12195175" cy="3429000"/>
          </a:xfrm>
          <a:prstGeom prst="rect">
            <a:avLst/>
          </a:prstGeom>
          <a:pattFill prst="wdDnDiag">
            <a:fgClr>
              <a:schemeClr val="tx1">
                <a:lumMod val="25000"/>
                <a:lumOff val="75000"/>
              </a:schemeClr>
            </a:fgClr>
            <a:bgClr>
              <a:schemeClr val="bg1"/>
            </a:bgClr>
          </a:pattFill>
        </p:spPr>
        <p:txBody>
          <a:bodyPr anchor="ctr"/>
          <a:lstStyle>
            <a:lvl1pPr marL="0" marR="0" indent="0" algn="ctr" defTabSz="912756" rtl="0" eaLnBrk="1" fontAlgn="auto" latinLnBrk="0" hangingPunct="1">
              <a:lnSpc>
                <a:spcPct val="90000"/>
              </a:lnSpc>
              <a:spcBef>
                <a:spcPts val="1000"/>
              </a:spcBef>
              <a:spcAft>
                <a:spcPts val="0"/>
              </a:spcAft>
              <a:buClrTx/>
              <a:buSzTx/>
              <a:buFont typeface="Arial" panose="020B0604020202020204" pitchFamily="34" charset="0"/>
              <a:buNone/>
              <a:tabLst/>
              <a:defRPr b="0" i="0">
                <a:solidFill>
                  <a:schemeClr val="tx1"/>
                </a:solidFill>
                <a:latin typeface="72" panose="020B0503030000000003" pitchFamily="34" charset="0"/>
              </a:defRPr>
            </a:lvl1pPr>
          </a:lstStyle>
          <a:p>
            <a:pPr marL="0" marR="0" lvl="0" indent="0" algn="l" defTabSz="912756" rtl="0" eaLnBrk="1" fontAlgn="auto" latinLnBrk="0" hangingPunct="1">
              <a:lnSpc>
                <a:spcPct val="90000"/>
              </a:lnSpc>
              <a:spcBef>
                <a:spcPts val="1000"/>
              </a:spcBef>
              <a:spcAft>
                <a:spcPts val="0"/>
              </a:spcAft>
              <a:buClrTx/>
              <a:buSzTx/>
              <a:buFont typeface="Arial" panose="020B0604020202020204" pitchFamily="34" charset="0"/>
              <a:buNone/>
              <a:tabLst/>
              <a:defRPr/>
            </a:pPr>
            <a:r>
              <a:rPr lang="en-MY"/>
              <a:t>					Insert your image here</a:t>
            </a:r>
          </a:p>
        </p:txBody>
      </p:sp>
      <p:sp>
        <p:nvSpPr>
          <p:cNvPr id="2" name="Slide Number Placeholder 1">
            <a:extLst>
              <a:ext uri="{FF2B5EF4-FFF2-40B4-BE49-F238E27FC236}">
                <a16:creationId xmlns:a16="http://schemas.microsoft.com/office/drawing/2014/main" id="{2B0F5671-EBE4-1434-D531-B3DEC22E2978}"/>
              </a:ext>
            </a:extLst>
          </p:cNvPr>
          <p:cNvSpPr>
            <a:spLocks noGrp="1"/>
          </p:cNvSpPr>
          <p:nvPr>
            <p:ph type="sldNum" sz="quarter" idx="11"/>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26117676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
        <p:nvSpPr>
          <p:cNvPr id="2" name="Rectangle 1">
            <a:extLst>
              <a:ext uri="{FF2B5EF4-FFF2-40B4-BE49-F238E27FC236}">
                <a16:creationId xmlns:a16="http://schemas.microsoft.com/office/drawing/2014/main" id="{74803CCD-0B60-0949-A760-91A1CD03D6FB}"/>
              </a:ext>
            </a:extLst>
          </p:cNvPr>
          <p:cNvSpPr/>
          <p:nvPr userDrawn="1"/>
        </p:nvSpPr>
        <p:spPr bwMode="gray">
          <a:xfrm>
            <a:off x="425944" y="6478859"/>
            <a:ext cx="11438955" cy="223024"/>
          </a:xfrm>
          <a:prstGeom prst="rec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92478013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0 images - team 5">
    <p:spTree>
      <p:nvGrpSpPr>
        <p:cNvPr id="1" name=""/>
        <p:cNvGrpSpPr/>
        <p:nvPr/>
      </p:nvGrpSpPr>
      <p:grpSpPr>
        <a:xfrm>
          <a:off x="0" y="0"/>
          <a:ext cx="0" cy="0"/>
          <a:chOff x="0" y="0"/>
          <a:chExt cx="0" cy="0"/>
        </a:xfrm>
      </p:grpSpPr>
      <p:sp>
        <p:nvSpPr>
          <p:cNvPr id="38" name="Picture Placeholder 2">
            <a:extLst>
              <a:ext uri="{FF2B5EF4-FFF2-40B4-BE49-F238E27FC236}">
                <a16:creationId xmlns:a16="http://schemas.microsoft.com/office/drawing/2014/main" id="{5C09755D-34F5-497F-AC11-EF83D8E62500}"/>
              </a:ext>
            </a:extLst>
          </p:cNvPr>
          <p:cNvSpPr>
            <a:spLocks noGrp="1"/>
          </p:cNvSpPr>
          <p:nvPr>
            <p:ph type="pic" sz="quarter" idx="11" hasCustomPrompt="1"/>
          </p:nvPr>
        </p:nvSpPr>
        <p:spPr>
          <a:xfrm>
            <a:off x="987963" y="1705351"/>
            <a:ext cx="1829276" cy="1920240"/>
          </a:xfrm>
          <a:prstGeom prst="rect">
            <a:avLst/>
          </a:prstGeom>
          <a:pattFill prst="wdDnDiag">
            <a:fgClr>
              <a:schemeClr val="tx1">
                <a:lumMod val="25000"/>
                <a:lumOff val="75000"/>
              </a:schemeClr>
            </a:fgClr>
            <a:bgClr>
              <a:schemeClr val="bg1"/>
            </a:bgClr>
          </a:pattFill>
        </p:spPr>
        <p:txBody>
          <a:bodyPr anchor="ctr"/>
          <a:lstStyle>
            <a:lvl1pPr marL="0" indent="0" algn="ctr">
              <a:buNone/>
              <a:defRPr sz="1794" b="0" i="0">
                <a:solidFill>
                  <a:schemeClr val="tx1"/>
                </a:solidFill>
                <a:latin typeface="72" panose="020B0503030000000003" pitchFamily="34" charset="0"/>
              </a:defRPr>
            </a:lvl1pPr>
          </a:lstStyle>
          <a:p>
            <a:r>
              <a:rPr lang="en-MY"/>
              <a:t>Insert your image here</a:t>
            </a:r>
          </a:p>
        </p:txBody>
      </p:sp>
      <p:sp>
        <p:nvSpPr>
          <p:cNvPr id="39" name="Picture Placeholder 2">
            <a:extLst>
              <a:ext uri="{FF2B5EF4-FFF2-40B4-BE49-F238E27FC236}">
                <a16:creationId xmlns:a16="http://schemas.microsoft.com/office/drawing/2014/main" id="{556C6852-39AD-40BC-99C0-AC0B766F2F51}"/>
              </a:ext>
            </a:extLst>
          </p:cNvPr>
          <p:cNvSpPr>
            <a:spLocks noGrp="1"/>
          </p:cNvSpPr>
          <p:nvPr>
            <p:ph type="pic" sz="quarter" idx="12" hasCustomPrompt="1"/>
          </p:nvPr>
        </p:nvSpPr>
        <p:spPr>
          <a:xfrm>
            <a:off x="3085456" y="1705351"/>
            <a:ext cx="1829276" cy="1920240"/>
          </a:xfrm>
          <a:prstGeom prst="rect">
            <a:avLst/>
          </a:prstGeom>
          <a:pattFill prst="wdDnDiag">
            <a:fgClr>
              <a:schemeClr val="tx1">
                <a:lumMod val="25000"/>
                <a:lumOff val="75000"/>
              </a:schemeClr>
            </a:fgClr>
            <a:bgClr>
              <a:schemeClr val="bg1"/>
            </a:bgClr>
          </a:pattFill>
        </p:spPr>
        <p:txBody>
          <a:bodyPr anchor="ctr"/>
          <a:lstStyle>
            <a:lvl1pPr marL="0" indent="0" algn="ctr">
              <a:buNone/>
              <a:defRPr sz="1794" b="0" i="0">
                <a:solidFill>
                  <a:schemeClr val="tx1"/>
                </a:solidFill>
                <a:latin typeface="72" panose="020B0503030000000003" pitchFamily="34" charset="0"/>
              </a:defRPr>
            </a:lvl1pPr>
          </a:lstStyle>
          <a:p>
            <a:r>
              <a:rPr lang="en-MY"/>
              <a:t>Insert your image here</a:t>
            </a:r>
          </a:p>
        </p:txBody>
      </p:sp>
      <p:sp>
        <p:nvSpPr>
          <p:cNvPr id="40" name="Picture Placeholder 2">
            <a:extLst>
              <a:ext uri="{FF2B5EF4-FFF2-40B4-BE49-F238E27FC236}">
                <a16:creationId xmlns:a16="http://schemas.microsoft.com/office/drawing/2014/main" id="{7DE59B39-4659-418A-8EDC-72F41917436A}"/>
              </a:ext>
            </a:extLst>
          </p:cNvPr>
          <p:cNvSpPr>
            <a:spLocks noGrp="1"/>
          </p:cNvSpPr>
          <p:nvPr>
            <p:ph type="pic" sz="quarter" idx="13" hasCustomPrompt="1"/>
          </p:nvPr>
        </p:nvSpPr>
        <p:spPr>
          <a:xfrm>
            <a:off x="5182950" y="1705351"/>
            <a:ext cx="1829276" cy="1920240"/>
          </a:xfrm>
          <a:prstGeom prst="rect">
            <a:avLst/>
          </a:prstGeom>
          <a:pattFill prst="wdDnDiag">
            <a:fgClr>
              <a:schemeClr val="tx1">
                <a:lumMod val="25000"/>
                <a:lumOff val="75000"/>
              </a:schemeClr>
            </a:fgClr>
            <a:bgClr>
              <a:schemeClr val="bg1"/>
            </a:bgClr>
          </a:pattFill>
        </p:spPr>
        <p:txBody>
          <a:bodyPr anchor="ctr"/>
          <a:lstStyle>
            <a:lvl1pPr marL="0" indent="0" algn="ctr">
              <a:buNone/>
              <a:defRPr sz="1794" b="0" i="0">
                <a:solidFill>
                  <a:schemeClr val="tx1"/>
                </a:solidFill>
                <a:latin typeface="72" panose="020B0503030000000003" pitchFamily="34" charset="0"/>
              </a:defRPr>
            </a:lvl1pPr>
          </a:lstStyle>
          <a:p>
            <a:r>
              <a:rPr lang="en-MY"/>
              <a:t>Insert your image here</a:t>
            </a:r>
          </a:p>
        </p:txBody>
      </p:sp>
      <p:sp>
        <p:nvSpPr>
          <p:cNvPr id="41" name="Picture Placeholder 2">
            <a:extLst>
              <a:ext uri="{FF2B5EF4-FFF2-40B4-BE49-F238E27FC236}">
                <a16:creationId xmlns:a16="http://schemas.microsoft.com/office/drawing/2014/main" id="{71721EE9-DC48-4A90-8166-69B1BE2884A8}"/>
              </a:ext>
            </a:extLst>
          </p:cNvPr>
          <p:cNvSpPr>
            <a:spLocks noGrp="1"/>
          </p:cNvSpPr>
          <p:nvPr>
            <p:ph type="pic" sz="quarter" idx="14" hasCustomPrompt="1"/>
          </p:nvPr>
        </p:nvSpPr>
        <p:spPr>
          <a:xfrm>
            <a:off x="7280443" y="1705351"/>
            <a:ext cx="1829276" cy="1920240"/>
          </a:xfrm>
          <a:prstGeom prst="rect">
            <a:avLst/>
          </a:prstGeom>
          <a:pattFill prst="wdDnDiag">
            <a:fgClr>
              <a:schemeClr val="tx1">
                <a:lumMod val="25000"/>
                <a:lumOff val="75000"/>
              </a:schemeClr>
            </a:fgClr>
            <a:bgClr>
              <a:schemeClr val="bg1"/>
            </a:bgClr>
          </a:pattFill>
        </p:spPr>
        <p:txBody>
          <a:bodyPr anchor="ctr"/>
          <a:lstStyle>
            <a:lvl1pPr marL="0" indent="0" algn="ctr">
              <a:buNone/>
              <a:defRPr sz="1794" b="0" i="0">
                <a:solidFill>
                  <a:schemeClr val="tx1"/>
                </a:solidFill>
                <a:latin typeface="72" panose="020B0503030000000003" pitchFamily="34" charset="0"/>
              </a:defRPr>
            </a:lvl1pPr>
          </a:lstStyle>
          <a:p>
            <a:r>
              <a:rPr lang="en-MY"/>
              <a:t>Insert your image here</a:t>
            </a:r>
          </a:p>
        </p:txBody>
      </p:sp>
      <p:sp>
        <p:nvSpPr>
          <p:cNvPr id="42" name="Picture Placeholder 2">
            <a:extLst>
              <a:ext uri="{FF2B5EF4-FFF2-40B4-BE49-F238E27FC236}">
                <a16:creationId xmlns:a16="http://schemas.microsoft.com/office/drawing/2014/main" id="{BF1C6F22-E486-4A65-BA9A-D5DDE1711C7E}"/>
              </a:ext>
            </a:extLst>
          </p:cNvPr>
          <p:cNvSpPr>
            <a:spLocks noGrp="1"/>
          </p:cNvSpPr>
          <p:nvPr>
            <p:ph type="pic" sz="quarter" idx="15" hasCustomPrompt="1"/>
          </p:nvPr>
        </p:nvSpPr>
        <p:spPr>
          <a:xfrm>
            <a:off x="9377936" y="1705351"/>
            <a:ext cx="1829276" cy="1920240"/>
          </a:xfrm>
          <a:prstGeom prst="rect">
            <a:avLst/>
          </a:prstGeom>
          <a:pattFill prst="wdDnDiag">
            <a:fgClr>
              <a:schemeClr val="tx1">
                <a:lumMod val="25000"/>
                <a:lumOff val="75000"/>
              </a:schemeClr>
            </a:fgClr>
            <a:bgClr>
              <a:schemeClr val="bg1"/>
            </a:bgClr>
          </a:pattFill>
        </p:spPr>
        <p:txBody>
          <a:bodyPr anchor="ctr"/>
          <a:lstStyle>
            <a:lvl1pPr marL="0" indent="0" algn="ctr">
              <a:buNone/>
              <a:defRPr sz="1794" b="0" i="0">
                <a:solidFill>
                  <a:schemeClr val="tx1"/>
                </a:solidFill>
                <a:latin typeface="72" panose="020B0503030000000003" pitchFamily="34" charset="0"/>
              </a:defRPr>
            </a:lvl1pPr>
          </a:lstStyle>
          <a:p>
            <a:r>
              <a:rPr lang="en-MY"/>
              <a:t>Insert your image here</a:t>
            </a:r>
          </a:p>
        </p:txBody>
      </p:sp>
      <p:sp>
        <p:nvSpPr>
          <p:cNvPr id="43" name="Picture Placeholder 2">
            <a:extLst>
              <a:ext uri="{FF2B5EF4-FFF2-40B4-BE49-F238E27FC236}">
                <a16:creationId xmlns:a16="http://schemas.microsoft.com/office/drawing/2014/main" id="{1250D8CA-8C33-40A0-A305-872F163EFFBC}"/>
              </a:ext>
            </a:extLst>
          </p:cNvPr>
          <p:cNvSpPr>
            <a:spLocks noGrp="1"/>
          </p:cNvSpPr>
          <p:nvPr>
            <p:ph type="pic" sz="quarter" idx="16" hasCustomPrompt="1"/>
          </p:nvPr>
        </p:nvSpPr>
        <p:spPr>
          <a:xfrm>
            <a:off x="987963" y="3886698"/>
            <a:ext cx="1829276" cy="1920240"/>
          </a:xfrm>
          <a:prstGeom prst="rect">
            <a:avLst/>
          </a:prstGeom>
          <a:pattFill prst="wdDnDiag">
            <a:fgClr>
              <a:schemeClr val="tx1">
                <a:lumMod val="25000"/>
                <a:lumOff val="75000"/>
              </a:schemeClr>
            </a:fgClr>
            <a:bgClr>
              <a:schemeClr val="bg1"/>
            </a:bgClr>
          </a:pattFill>
        </p:spPr>
        <p:txBody>
          <a:bodyPr anchor="ctr"/>
          <a:lstStyle>
            <a:lvl1pPr marL="0" indent="0" algn="ctr">
              <a:buNone/>
              <a:defRPr sz="1794" b="0" i="0">
                <a:solidFill>
                  <a:schemeClr val="tx1"/>
                </a:solidFill>
                <a:latin typeface="72" panose="020B0503030000000003" pitchFamily="34" charset="0"/>
              </a:defRPr>
            </a:lvl1pPr>
          </a:lstStyle>
          <a:p>
            <a:r>
              <a:rPr lang="en-MY"/>
              <a:t>Insert your image here</a:t>
            </a:r>
          </a:p>
        </p:txBody>
      </p:sp>
      <p:sp>
        <p:nvSpPr>
          <p:cNvPr id="44" name="Picture Placeholder 2">
            <a:extLst>
              <a:ext uri="{FF2B5EF4-FFF2-40B4-BE49-F238E27FC236}">
                <a16:creationId xmlns:a16="http://schemas.microsoft.com/office/drawing/2014/main" id="{982D066C-C010-4B6B-9517-1EDBA78D57F8}"/>
              </a:ext>
            </a:extLst>
          </p:cNvPr>
          <p:cNvSpPr>
            <a:spLocks noGrp="1"/>
          </p:cNvSpPr>
          <p:nvPr>
            <p:ph type="pic" sz="quarter" idx="17" hasCustomPrompt="1"/>
          </p:nvPr>
        </p:nvSpPr>
        <p:spPr>
          <a:xfrm>
            <a:off x="3085456" y="3886698"/>
            <a:ext cx="1829276" cy="1920240"/>
          </a:xfrm>
          <a:prstGeom prst="rect">
            <a:avLst/>
          </a:prstGeom>
          <a:pattFill prst="wdDnDiag">
            <a:fgClr>
              <a:schemeClr val="tx1">
                <a:lumMod val="25000"/>
                <a:lumOff val="75000"/>
              </a:schemeClr>
            </a:fgClr>
            <a:bgClr>
              <a:schemeClr val="bg1"/>
            </a:bgClr>
          </a:pattFill>
        </p:spPr>
        <p:txBody>
          <a:bodyPr anchor="ctr"/>
          <a:lstStyle>
            <a:lvl1pPr marL="0" indent="0" algn="ctr">
              <a:buNone/>
              <a:defRPr sz="1794" b="0" i="0">
                <a:solidFill>
                  <a:schemeClr val="tx1"/>
                </a:solidFill>
                <a:latin typeface="72" panose="020B0503030000000003" pitchFamily="34" charset="0"/>
              </a:defRPr>
            </a:lvl1pPr>
          </a:lstStyle>
          <a:p>
            <a:r>
              <a:rPr lang="en-MY"/>
              <a:t>Insert your image here</a:t>
            </a:r>
          </a:p>
        </p:txBody>
      </p:sp>
      <p:sp>
        <p:nvSpPr>
          <p:cNvPr id="45" name="Picture Placeholder 2">
            <a:extLst>
              <a:ext uri="{FF2B5EF4-FFF2-40B4-BE49-F238E27FC236}">
                <a16:creationId xmlns:a16="http://schemas.microsoft.com/office/drawing/2014/main" id="{971E7C66-C6C2-43FE-862B-A32FA2F277E1}"/>
              </a:ext>
            </a:extLst>
          </p:cNvPr>
          <p:cNvSpPr>
            <a:spLocks noGrp="1"/>
          </p:cNvSpPr>
          <p:nvPr>
            <p:ph type="pic" sz="quarter" idx="18" hasCustomPrompt="1"/>
          </p:nvPr>
        </p:nvSpPr>
        <p:spPr>
          <a:xfrm>
            <a:off x="5182950" y="3886698"/>
            <a:ext cx="1829276" cy="1920240"/>
          </a:xfrm>
          <a:prstGeom prst="rect">
            <a:avLst/>
          </a:prstGeom>
          <a:pattFill prst="wdDnDiag">
            <a:fgClr>
              <a:schemeClr val="tx1">
                <a:lumMod val="25000"/>
                <a:lumOff val="75000"/>
              </a:schemeClr>
            </a:fgClr>
            <a:bgClr>
              <a:schemeClr val="bg1"/>
            </a:bgClr>
          </a:pattFill>
        </p:spPr>
        <p:txBody>
          <a:bodyPr anchor="ctr"/>
          <a:lstStyle>
            <a:lvl1pPr marL="0" indent="0" algn="ctr">
              <a:buNone/>
              <a:defRPr sz="1794" b="0" i="0">
                <a:solidFill>
                  <a:schemeClr val="tx1"/>
                </a:solidFill>
                <a:latin typeface="72" panose="020B0503030000000003" pitchFamily="34" charset="0"/>
              </a:defRPr>
            </a:lvl1pPr>
          </a:lstStyle>
          <a:p>
            <a:r>
              <a:rPr lang="en-MY"/>
              <a:t>Insert your image here</a:t>
            </a:r>
          </a:p>
        </p:txBody>
      </p:sp>
      <p:sp>
        <p:nvSpPr>
          <p:cNvPr id="46" name="Picture Placeholder 2">
            <a:extLst>
              <a:ext uri="{FF2B5EF4-FFF2-40B4-BE49-F238E27FC236}">
                <a16:creationId xmlns:a16="http://schemas.microsoft.com/office/drawing/2014/main" id="{85838117-36BC-4337-B825-5D42725E7DA4}"/>
              </a:ext>
            </a:extLst>
          </p:cNvPr>
          <p:cNvSpPr>
            <a:spLocks noGrp="1"/>
          </p:cNvSpPr>
          <p:nvPr>
            <p:ph type="pic" sz="quarter" idx="19" hasCustomPrompt="1"/>
          </p:nvPr>
        </p:nvSpPr>
        <p:spPr>
          <a:xfrm>
            <a:off x="7280443" y="3886698"/>
            <a:ext cx="1829276" cy="1920240"/>
          </a:xfrm>
          <a:prstGeom prst="rect">
            <a:avLst/>
          </a:prstGeom>
          <a:pattFill prst="wdDnDiag">
            <a:fgClr>
              <a:schemeClr val="tx1">
                <a:lumMod val="25000"/>
                <a:lumOff val="75000"/>
              </a:schemeClr>
            </a:fgClr>
            <a:bgClr>
              <a:schemeClr val="bg1"/>
            </a:bgClr>
          </a:pattFill>
        </p:spPr>
        <p:txBody>
          <a:bodyPr anchor="ctr"/>
          <a:lstStyle>
            <a:lvl1pPr marL="0" indent="0" algn="ctr">
              <a:buNone/>
              <a:defRPr sz="1794" b="0" i="0">
                <a:solidFill>
                  <a:schemeClr val="tx1"/>
                </a:solidFill>
                <a:latin typeface="72" panose="020B0503030000000003" pitchFamily="34" charset="0"/>
              </a:defRPr>
            </a:lvl1pPr>
          </a:lstStyle>
          <a:p>
            <a:r>
              <a:rPr lang="en-MY"/>
              <a:t>Insert your image here</a:t>
            </a:r>
          </a:p>
        </p:txBody>
      </p:sp>
      <p:sp>
        <p:nvSpPr>
          <p:cNvPr id="47" name="Picture Placeholder 2">
            <a:extLst>
              <a:ext uri="{FF2B5EF4-FFF2-40B4-BE49-F238E27FC236}">
                <a16:creationId xmlns:a16="http://schemas.microsoft.com/office/drawing/2014/main" id="{5401C3BB-30A5-476C-878F-87E8566B020A}"/>
              </a:ext>
            </a:extLst>
          </p:cNvPr>
          <p:cNvSpPr>
            <a:spLocks noGrp="1"/>
          </p:cNvSpPr>
          <p:nvPr>
            <p:ph type="pic" sz="quarter" idx="20" hasCustomPrompt="1"/>
          </p:nvPr>
        </p:nvSpPr>
        <p:spPr>
          <a:xfrm>
            <a:off x="9377936" y="3886698"/>
            <a:ext cx="1829276" cy="1920240"/>
          </a:xfrm>
          <a:prstGeom prst="rect">
            <a:avLst/>
          </a:prstGeom>
          <a:pattFill prst="wdDnDiag">
            <a:fgClr>
              <a:schemeClr val="tx1">
                <a:lumMod val="25000"/>
                <a:lumOff val="75000"/>
              </a:schemeClr>
            </a:fgClr>
            <a:bgClr>
              <a:schemeClr val="bg1"/>
            </a:bgClr>
          </a:pattFill>
        </p:spPr>
        <p:txBody>
          <a:bodyPr anchor="ctr"/>
          <a:lstStyle>
            <a:lvl1pPr marL="0" indent="0" algn="ctr">
              <a:buNone/>
              <a:defRPr sz="1794" b="0" i="0">
                <a:solidFill>
                  <a:schemeClr val="tx1"/>
                </a:solidFill>
                <a:latin typeface="72" panose="020B0503030000000003" pitchFamily="34" charset="0"/>
              </a:defRPr>
            </a:lvl1pPr>
          </a:lstStyle>
          <a:p>
            <a:r>
              <a:rPr lang="en-MY"/>
              <a:t>Insert your image here</a:t>
            </a:r>
          </a:p>
        </p:txBody>
      </p:sp>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419" y="371728"/>
            <a:ext cx="10518338" cy="886732"/>
          </a:xfrm>
          <a:prstGeom prst="rect">
            <a:avLst/>
          </a:prstGeom>
        </p:spPr>
        <p:txBody>
          <a:bodyPr anchor="ctr"/>
          <a:lstStyle>
            <a:lvl1pPr algn="ctr">
              <a:defRPr sz="3594" b="0" i="0">
                <a:solidFill>
                  <a:schemeClr val="tx1"/>
                </a:solidFill>
                <a:latin typeface="72" panose="020B0503030000000003" pitchFamily="34" charset="0"/>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397" y="1051062"/>
            <a:ext cx="9146381" cy="436562"/>
          </a:xfrm>
          <a:prstGeom prst="rect">
            <a:avLst/>
          </a:prstGeom>
        </p:spPr>
        <p:txBody>
          <a:bodyPr>
            <a:normAutofit/>
          </a:bodyPr>
          <a:lstStyle>
            <a:lvl1pPr marL="0" indent="0" algn="ctr">
              <a:buNone/>
              <a:defRPr sz="1794" b="0" i="0">
                <a:solidFill>
                  <a:schemeClr val="tx1"/>
                </a:solidFill>
                <a:latin typeface="72" panose="020B0503030000000003" pitchFamily="34" charset="0"/>
              </a:defRPr>
            </a:lvl1pPr>
            <a:lvl2pPr marL="456378" indent="0" algn="ctr">
              <a:buNone/>
              <a:defRPr sz="1994"/>
            </a:lvl2pPr>
            <a:lvl3pPr marL="912756" indent="0" algn="ctr">
              <a:buNone/>
              <a:defRPr sz="1794"/>
            </a:lvl3pPr>
            <a:lvl4pPr marL="1369134" indent="0" algn="ctr">
              <a:buNone/>
              <a:defRPr sz="1600"/>
            </a:lvl4pPr>
            <a:lvl5pPr marL="1825511" indent="0" algn="ctr">
              <a:buNone/>
              <a:defRPr sz="1600"/>
            </a:lvl5pPr>
            <a:lvl6pPr marL="2281888" indent="0" algn="ctr">
              <a:buNone/>
              <a:defRPr sz="1600"/>
            </a:lvl6pPr>
            <a:lvl7pPr marL="2738266" indent="0" algn="ctr">
              <a:buNone/>
              <a:defRPr sz="1600"/>
            </a:lvl7pPr>
            <a:lvl8pPr marL="3194643" indent="0" algn="ctr">
              <a:buNone/>
              <a:defRPr sz="1600"/>
            </a:lvl8pPr>
            <a:lvl9pPr marL="3651021" indent="0" algn="ctr">
              <a:buNone/>
              <a:defRPr sz="1600"/>
            </a:lvl9pPr>
          </a:lstStyle>
          <a:p>
            <a:r>
              <a:rPr lang="en-US"/>
              <a:t>Insert your awesome subtitle here</a:t>
            </a:r>
            <a:endParaRPr lang="en-MY"/>
          </a:p>
        </p:txBody>
      </p:sp>
      <p:sp>
        <p:nvSpPr>
          <p:cNvPr id="2" name="Slide Number Placeholder 1">
            <a:extLst>
              <a:ext uri="{FF2B5EF4-FFF2-40B4-BE49-F238E27FC236}">
                <a16:creationId xmlns:a16="http://schemas.microsoft.com/office/drawing/2014/main" id="{3C339951-18C6-F0B7-CC5B-2ADE755AF1C5}"/>
              </a:ext>
            </a:extLst>
          </p:cNvPr>
          <p:cNvSpPr>
            <a:spLocks noGrp="1"/>
          </p:cNvSpPr>
          <p:nvPr>
            <p:ph type="sldNum" sz="quarter" idx="21"/>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40942255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419" y="371728"/>
            <a:ext cx="10518338" cy="886732"/>
          </a:xfrm>
          <a:prstGeom prst="rect">
            <a:avLst/>
          </a:prstGeom>
        </p:spPr>
        <p:txBody>
          <a:bodyPr anchor="ctr"/>
          <a:lstStyle>
            <a:lvl1pPr algn="ctr">
              <a:defRPr sz="3594" b="0" i="0">
                <a:solidFill>
                  <a:schemeClr val="tx1"/>
                </a:solidFill>
                <a:latin typeface="72" panose="020B0503030000000003" pitchFamily="34" charset="0"/>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397" y="1051062"/>
            <a:ext cx="9146381" cy="436562"/>
          </a:xfrm>
          <a:prstGeom prst="rect">
            <a:avLst/>
          </a:prstGeom>
        </p:spPr>
        <p:txBody>
          <a:bodyPr>
            <a:normAutofit/>
          </a:bodyPr>
          <a:lstStyle>
            <a:lvl1pPr marL="0" indent="0" algn="ctr">
              <a:buNone/>
              <a:defRPr sz="1794" b="0" i="0">
                <a:solidFill>
                  <a:schemeClr val="tx1"/>
                </a:solidFill>
                <a:latin typeface="72" panose="020B0503030000000003" pitchFamily="34" charset="0"/>
              </a:defRPr>
            </a:lvl1pPr>
            <a:lvl2pPr marL="456378" indent="0" algn="ctr">
              <a:buNone/>
              <a:defRPr sz="1994"/>
            </a:lvl2pPr>
            <a:lvl3pPr marL="912756" indent="0" algn="ctr">
              <a:buNone/>
              <a:defRPr sz="1794"/>
            </a:lvl3pPr>
            <a:lvl4pPr marL="1369134" indent="0" algn="ctr">
              <a:buNone/>
              <a:defRPr sz="1600"/>
            </a:lvl4pPr>
            <a:lvl5pPr marL="1825511" indent="0" algn="ctr">
              <a:buNone/>
              <a:defRPr sz="1600"/>
            </a:lvl5pPr>
            <a:lvl6pPr marL="2281888" indent="0" algn="ctr">
              <a:buNone/>
              <a:defRPr sz="1600"/>
            </a:lvl6pPr>
            <a:lvl7pPr marL="2738266" indent="0" algn="ctr">
              <a:buNone/>
              <a:defRPr sz="1600"/>
            </a:lvl7pPr>
            <a:lvl8pPr marL="3194643" indent="0" algn="ctr">
              <a:buNone/>
              <a:defRPr sz="1600"/>
            </a:lvl8pPr>
            <a:lvl9pPr marL="3651021" indent="0" algn="ctr">
              <a:buNone/>
              <a:defRPr sz="1600"/>
            </a:lvl9pPr>
          </a:lstStyle>
          <a:p>
            <a:r>
              <a:rPr lang="en-US"/>
              <a:t>Insert your awesome subtitle here</a:t>
            </a:r>
            <a:endParaRPr lang="en-MY"/>
          </a:p>
        </p:txBody>
      </p:sp>
      <p:sp>
        <p:nvSpPr>
          <p:cNvPr id="2" name="Slide Number Placeholder 1">
            <a:extLst>
              <a:ext uri="{FF2B5EF4-FFF2-40B4-BE49-F238E27FC236}">
                <a16:creationId xmlns:a16="http://schemas.microsoft.com/office/drawing/2014/main" id="{1E086B0D-5522-2A37-36ED-0A390D62DA9F}"/>
              </a:ext>
            </a:extLst>
          </p:cNvPr>
          <p:cNvSpPr>
            <a:spLocks noGrp="1"/>
          </p:cNvSpPr>
          <p:nvPr>
            <p:ph type="sldNum" sz="quarter" idx="10"/>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357893134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Single Image 4 - team">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77FEE23-A1F6-4E29-A9EE-8DC9D944C1E4}"/>
              </a:ext>
            </a:extLst>
          </p:cNvPr>
          <p:cNvSpPr>
            <a:spLocks noGrp="1"/>
          </p:cNvSpPr>
          <p:nvPr>
            <p:ph type="pic" sz="quarter" idx="11" hasCustomPrompt="1"/>
          </p:nvPr>
        </p:nvSpPr>
        <p:spPr>
          <a:xfrm>
            <a:off x="345323" y="541176"/>
            <a:ext cx="5030510" cy="5766318"/>
          </a:xfrm>
          <a:prstGeom prst="rect">
            <a:avLst/>
          </a:prstGeom>
          <a:pattFill prst="wdDnDiag">
            <a:fgClr>
              <a:schemeClr val="tx1">
                <a:lumMod val="25000"/>
                <a:lumOff val="75000"/>
              </a:schemeClr>
            </a:fgClr>
            <a:bgClr>
              <a:schemeClr val="bg1"/>
            </a:bgClr>
          </a:pattFill>
          <a:effectLst>
            <a:outerShdw blurRad="254000" algn="ctr" rotWithShape="0">
              <a:prstClr val="black">
                <a:alpha val="20000"/>
              </a:prstClr>
            </a:outerShdw>
          </a:effectLst>
        </p:spPr>
        <p:txBody>
          <a:bodyPr anchor="ctr"/>
          <a:lstStyle>
            <a:lvl1pPr marL="0" indent="0" algn="ctr">
              <a:buNone/>
              <a:defRPr b="0" i="0">
                <a:solidFill>
                  <a:schemeClr val="tx1"/>
                </a:solidFill>
                <a:latin typeface="72" panose="020B0503030000000003" pitchFamily="34" charset="0"/>
              </a:defRPr>
            </a:lvl1pPr>
          </a:lstStyle>
          <a:p>
            <a:r>
              <a:rPr lang="en-MY"/>
              <a:t>Insert your image here</a:t>
            </a:r>
          </a:p>
        </p:txBody>
      </p:sp>
      <p:sp>
        <p:nvSpPr>
          <p:cNvPr id="2" name="Slide Number Placeholder 1">
            <a:extLst>
              <a:ext uri="{FF2B5EF4-FFF2-40B4-BE49-F238E27FC236}">
                <a16:creationId xmlns:a16="http://schemas.microsoft.com/office/drawing/2014/main" id="{42CECE85-CE91-5525-DB6F-A6EF9DCB63EC}"/>
              </a:ext>
            </a:extLst>
          </p:cNvPr>
          <p:cNvSpPr>
            <a:spLocks noGrp="1"/>
          </p:cNvSpPr>
          <p:nvPr>
            <p:ph type="sldNum" sz="quarter" idx="12"/>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416636686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Image with text 2">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419" y="371728"/>
            <a:ext cx="10518338" cy="886732"/>
          </a:xfrm>
          <a:prstGeom prst="rect">
            <a:avLst/>
          </a:prstGeom>
        </p:spPr>
        <p:txBody>
          <a:bodyPr anchor="ctr"/>
          <a:lstStyle>
            <a:lvl1pPr algn="ctr">
              <a:defRPr sz="3594" b="0" i="0">
                <a:solidFill>
                  <a:schemeClr val="tx1"/>
                </a:solidFill>
                <a:latin typeface="72" panose="020B0503030000000003" pitchFamily="34" charset="0"/>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397" y="1051062"/>
            <a:ext cx="9146381" cy="436562"/>
          </a:xfrm>
          <a:prstGeom prst="rect">
            <a:avLst/>
          </a:prstGeom>
        </p:spPr>
        <p:txBody>
          <a:bodyPr>
            <a:normAutofit/>
          </a:bodyPr>
          <a:lstStyle>
            <a:lvl1pPr marL="0" indent="0" algn="ctr">
              <a:buNone/>
              <a:defRPr sz="1794" b="0" i="0">
                <a:solidFill>
                  <a:schemeClr val="tx1"/>
                </a:solidFill>
                <a:latin typeface="72" panose="020B0503030000000003" pitchFamily="34" charset="0"/>
              </a:defRPr>
            </a:lvl1pPr>
            <a:lvl2pPr marL="456378" indent="0" algn="ctr">
              <a:buNone/>
              <a:defRPr sz="1994"/>
            </a:lvl2pPr>
            <a:lvl3pPr marL="912756" indent="0" algn="ctr">
              <a:buNone/>
              <a:defRPr sz="1794"/>
            </a:lvl3pPr>
            <a:lvl4pPr marL="1369134" indent="0" algn="ctr">
              <a:buNone/>
              <a:defRPr sz="1600"/>
            </a:lvl4pPr>
            <a:lvl5pPr marL="1825511" indent="0" algn="ctr">
              <a:buNone/>
              <a:defRPr sz="1600"/>
            </a:lvl5pPr>
            <a:lvl6pPr marL="2281888" indent="0" algn="ctr">
              <a:buNone/>
              <a:defRPr sz="1600"/>
            </a:lvl6pPr>
            <a:lvl7pPr marL="2738266" indent="0" algn="ctr">
              <a:buNone/>
              <a:defRPr sz="1600"/>
            </a:lvl7pPr>
            <a:lvl8pPr marL="3194643" indent="0" algn="ctr">
              <a:buNone/>
              <a:defRPr sz="1600"/>
            </a:lvl8pPr>
            <a:lvl9pPr marL="3651021" indent="0" algn="ctr">
              <a:buNone/>
              <a:defRPr sz="1600"/>
            </a:lvl9pPr>
          </a:lstStyle>
          <a:p>
            <a:r>
              <a:rPr lang="en-US"/>
              <a:t>Insert your awesome subtitle here</a:t>
            </a:r>
            <a:endParaRPr lang="en-MY"/>
          </a:p>
        </p:txBody>
      </p:sp>
      <p:sp>
        <p:nvSpPr>
          <p:cNvPr id="24" name="Picture Placeholder 4">
            <a:extLst>
              <a:ext uri="{FF2B5EF4-FFF2-40B4-BE49-F238E27FC236}">
                <a16:creationId xmlns:a16="http://schemas.microsoft.com/office/drawing/2014/main" id="{4B61E97F-62AB-4E43-BD2B-8F6382162768}"/>
              </a:ext>
            </a:extLst>
          </p:cNvPr>
          <p:cNvSpPr>
            <a:spLocks noGrp="1"/>
          </p:cNvSpPr>
          <p:nvPr>
            <p:ph type="pic" sz="quarter" idx="14" hasCustomPrompt="1"/>
          </p:nvPr>
        </p:nvSpPr>
        <p:spPr>
          <a:xfrm>
            <a:off x="566204" y="1706943"/>
            <a:ext cx="2605014" cy="2261050"/>
          </a:xfrm>
          <a:prstGeom prst="roundRect">
            <a:avLst>
              <a:gd name="adj" fmla="val 3628"/>
            </a:avLst>
          </a:prstGeom>
          <a:pattFill prst="wdDnDiag">
            <a:fgClr>
              <a:schemeClr val="tx1">
                <a:lumMod val="25000"/>
                <a:lumOff val="75000"/>
              </a:schemeClr>
            </a:fgClr>
            <a:bgClr>
              <a:schemeClr val="bg1"/>
            </a:bgClr>
          </a:pattFill>
        </p:spPr>
        <p:txBody>
          <a:bodyPr anchor="ctr"/>
          <a:lstStyle>
            <a:lvl1pPr algn="ctr">
              <a:buNone/>
              <a:defRPr b="0" i="0">
                <a:latin typeface="72" panose="020B0503030000000003" pitchFamily="34" charset="0"/>
              </a:defRPr>
            </a:lvl1pPr>
          </a:lstStyle>
          <a:p>
            <a:r>
              <a:rPr lang="en-US"/>
              <a:t>Insert your image here</a:t>
            </a:r>
          </a:p>
        </p:txBody>
      </p:sp>
      <p:sp>
        <p:nvSpPr>
          <p:cNvPr id="14" name="Picture Placeholder 4">
            <a:extLst>
              <a:ext uri="{FF2B5EF4-FFF2-40B4-BE49-F238E27FC236}">
                <a16:creationId xmlns:a16="http://schemas.microsoft.com/office/drawing/2014/main" id="{8A93B2D8-9D17-4C2C-A9E9-C393828534B4}"/>
              </a:ext>
            </a:extLst>
          </p:cNvPr>
          <p:cNvSpPr>
            <a:spLocks noGrp="1"/>
          </p:cNvSpPr>
          <p:nvPr>
            <p:ph type="pic" sz="quarter" idx="15" hasCustomPrompt="1"/>
          </p:nvPr>
        </p:nvSpPr>
        <p:spPr>
          <a:xfrm>
            <a:off x="3385457" y="1706943"/>
            <a:ext cx="2605014" cy="2261050"/>
          </a:xfrm>
          <a:prstGeom prst="roundRect">
            <a:avLst>
              <a:gd name="adj" fmla="val 3628"/>
            </a:avLst>
          </a:prstGeom>
          <a:pattFill prst="wdDnDiag">
            <a:fgClr>
              <a:schemeClr val="tx1">
                <a:lumMod val="25000"/>
                <a:lumOff val="75000"/>
              </a:schemeClr>
            </a:fgClr>
            <a:bgClr>
              <a:schemeClr val="bg1"/>
            </a:bgClr>
          </a:pattFill>
        </p:spPr>
        <p:txBody>
          <a:bodyPr anchor="ctr"/>
          <a:lstStyle>
            <a:lvl1pPr algn="ctr">
              <a:buNone/>
              <a:defRPr b="0" i="0">
                <a:latin typeface="72" panose="020B0503030000000003" pitchFamily="34" charset="0"/>
              </a:defRPr>
            </a:lvl1pPr>
          </a:lstStyle>
          <a:p>
            <a:r>
              <a:rPr lang="en-US"/>
              <a:t>Insert your image here</a:t>
            </a:r>
          </a:p>
        </p:txBody>
      </p:sp>
      <p:sp>
        <p:nvSpPr>
          <p:cNvPr id="15" name="Picture Placeholder 4">
            <a:extLst>
              <a:ext uri="{FF2B5EF4-FFF2-40B4-BE49-F238E27FC236}">
                <a16:creationId xmlns:a16="http://schemas.microsoft.com/office/drawing/2014/main" id="{89C6514A-243B-4849-87AC-D238495CDE6D}"/>
              </a:ext>
            </a:extLst>
          </p:cNvPr>
          <p:cNvSpPr>
            <a:spLocks noGrp="1"/>
          </p:cNvSpPr>
          <p:nvPr>
            <p:ph type="pic" sz="quarter" idx="16" hasCustomPrompt="1"/>
          </p:nvPr>
        </p:nvSpPr>
        <p:spPr>
          <a:xfrm>
            <a:off x="6204709" y="1706943"/>
            <a:ext cx="2605014" cy="2261050"/>
          </a:xfrm>
          <a:prstGeom prst="roundRect">
            <a:avLst>
              <a:gd name="adj" fmla="val 3628"/>
            </a:avLst>
          </a:prstGeom>
          <a:pattFill prst="wdDnDiag">
            <a:fgClr>
              <a:schemeClr val="tx1">
                <a:lumMod val="25000"/>
                <a:lumOff val="75000"/>
              </a:schemeClr>
            </a:fgClr>
            <a:bgClr>
              <a:schemeClr val="bg1"/>
            </a:bgClr>
          </a:pattFill>
        </p:spPr>
        <p:txBody>
          <a:bodyPr anchor="ctr"/>
          <a:lstStyle>
            <a:lvl1pPr algn="ctr">
              <a:buNone/>
              <a:defRPr b="0" i="0">
                <a:latin typeface="72" panose="020B0503030000000003" pitchFamily="34" charset="0"/>
              </a:defRPr>
            </a:lvl1pPr>
          </a:lstStyle>
          <a:p>
            <a:r>
              <a:rPr lang="en-US"/>
              <a:t>Insert your image here</a:t>
            </a:r>
          </a:p>
        </p:txBody>
      </p:sp>
      <p:sp>
        <p:nvSpPr>
          <p:cNvPr id="16" name="Picture Placeholder 4">
            <a:extLst>
              <a:ext uri="{FF2B5EF4-FFF2-40B4-BE49-F238E27FC236}">
                <a16:creationId xmlns:a16="http://schemas.microsoft.com/office/drawing/2014/main" id="{B812BE68-A0A8-4796-9AEC-7DBD4FBDF35D}"/>
              </a:ext>
            </a:extLst>
          </p:cNvPr>
          <p:cNvSpPr>
            <a:spLocks noGrp="1"/>
          </p:cNvSpPr>
          <p:nvPr>
            <p:ph type="pic" sz="quarter" idx="17" hasCustomPrompt="1"/>
          </p:nvPr>
        </p:nvSpPr>
        <p:spPr>
          <a:xfrm>
            <a:off x="9023962" y="1706943"/>
            <a:ext cx="2605014" cy="2261050"/>
          </a:xfrm>
          <a:prstGeom prst="roundRect">
            <a:avLst>
              <a:gd name="adj" fmla="val 3628"/>
            </a:avLst>
          </a:prstGeom>
          <a:pattFill prst="wdDnDiag">
            <a:fgClr>
              <a:schemeClr val="tx1">
                <a:lumMod val="25000"/>
                <a:lumOff val="75000"/>
              </a:schemeClr>
            </a:fgClr>
            <a:bgClr>
              <a:schemeClr val="bg1"/>
            </a:bgClr>
          </a:pattFill>
        </p:spPr>
        <p:txBody>
          <a:bodyPr anchor="ctr"/>
          <a:lstStyle>
            <a:lvl1pPr algn="ctr">
              <a:buNone/>
              <a:defRPr b="0" i="0">
                <a:latin typeface="72" panose="020B0503030000000003" pitchFamily="34" charset="0"/>
              </a:defRPr>
            </a:lvl1pPr>
          </a:lstStyle>
          <a:p>
            <a:r>
              <a:rPr lang="en-US"/>
              <a:t>Insert your image here</a:t>
            </a:r>
          </a:p>
        </p:txBody>
      </p:sp>
      <p:sp>
        <p:nvSpPr>
          <p:cNvPr id="2" name="Slide Number Placeholder 1">
            <a:extLst>
              <a:ext uri="{FF2B5EF4-FFF2-40B4-BE49-F238E27FC236}">
                <a16:creationId xmlns:a16="http://schemas.microsoft.com/office/drawing/2014/main" id="{612A7626-F468-9A51-1879-0D37DCA59374}"/>
              </a:ext>
            </a:extLst>
          </p:cNvPr>
          <p:cNvSpPr>
            <a:spLocks noGrp="1"/>
          </p:cNvSpPr>
          <p:nvPr>
            <p:ph type="sldNum" sz="quarter" idx="18"/>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287579194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4 images full page - image gallery">
    <p:spTree>
      <p:nvGrpSpPr>
        <p:cNvPr id="1" name=""/>
        <p:cNvGrpSpPr/>
        <p:nvPr/>
      </p:nvGrpSpPr>
      <p:grpSpPr>
        <a:xfrm>
          <a:off x="0" y="0"/>
          <a:ext cx="0" cy="0"/>
          <a:chOff x="0" y="0"/>
          <a:chExt cx="0" cy="0"/>
        </a:xfrm>
      </p:grpSpPr>
      <p:sp>
        <p:nvSpPr>
          <p:cNvPr id="41" name="Picture Placeholder 4">
            <a:extLst>
              <a:ext uri="{FF2B5EF4-FFF2-40B4-BE49-F238E27FC236}">
                <a16:creationId xmlns:a16="http://schemas.microsoft.com/office/drawing/2014/main" id="{AF4DB751-6CBC-4786-8908-DD31AF304189}"/>
              </a:ext>
            </a:extLst>
          </p:cNvPr>
          <p:cNvSpPr>
            <a:spLocks noGrp="1"/>
          </p:cNvSpPr>
          <p:nvPr>
            <p:ph type="pic" sz="quarter" idx="13" hasCustomPrompt="1"/>
          </p:nvPr>
        </p:nvSpPr>
        <p:spPr>
          <a:xfrm>
            <a:off x="0" y="0"/>
            <a:ext cx="3046393" cy="6858000"/>
          </a:xfrm>
          <a:prstGeom prst="rect">
            <a:avLst/>
          </a:prstGeom>
          <a:pattFill prst="wdDnDiag">
            <a:fgClr>
              <a:schemeClr val="tx1">
                <a:lumMod val="25000"/>
                <a:lumOff val="75000"/>
              </a:schemeClr>
            </a:fgClr>
            <a:bgClr>
              <a:schemeClr val="bg1"/>
            </a:bgClr>
          </a:pattFill>
        </p:spPr>
        <p:txBody>
          <a:bodyPr anchor="ctr"/>
          <a:lstStyle>
            <a:lvl1pPr marL="0" marR="0" indent="0" algn="ctr" defTabSz="912756" rtl="0" eaLnBrk="1" fontAlgn="auto" latinLnBrk="0" hangingPunct="1">
              <a:lnSpc>
                <a:spcPct val="90000"/>
              </a:lnSpc>
              <a:spcBef>
                <a:spcPts val="1000"/>
              </a:spcBef>
              <a:spcAft>
                <a:spcPts val="0"/>
              </a:spcAft>
              <a:buClrTx/>
              <a:buSzTx/>
              <a:buFont typeface="Arial" panose="020B0604020202020204" pitchFamily="34" charset="0"/>
              <a:buNone/>
              <a:tabLst/>
              <a:defRPr sz="2794" b="0" i="0">
                <a:solidFill>
                  <a:schemeClr val="tx1"/>
                </a:solidFill>
                <a:latin typeface="72" panose="020B0503030000000003" pitchFamily="34" charset="0"/>
              </a:defRPr>
            </a:lvl1pPr>
          </a:lstStyle>
          <a:p>
            <a:pPr marL="0" marR="0" lvl="0" indent="0" algn="l" defTabSz="912756" rtl="0" eaLnBrk="1" fontAlgn="auto" latinLnBrk="0" hangingPunct="1">
              <a:lnSpc>
                <a:spcPct val="90000"/>
              </a:lnSpc>
              <a:spcBef>
                <a:spcPts val="1000"/>
              </a:spcBef>
              <a:spcAft>
                <a:spcPts val="0"/>
              </a:spcAft>
              <a:buClrTx/>
              <a:buSzTx/>
              <a:buFont typeface="Arial" panose="020B0604020202020204" pitchFamily="34" charset="0"/>
              <a:buNone/>
              <a:tabLst/>
              <a:defRPr/>
            </a:pPr>
            <a:r>
              <a:rPr lang="en-MY"/>
              <a:t>Insert your image here</a:t>
            </a:r>
          </a:p>
        </p:txBody>
      </p:sp>
      <p:sp>
        <p:nvSpPr>
          <p:cNvPr id="14" name="Picture Placeholder 4">
            <a:extLst>
              <a:ext uri="{FF2B5EF4-FFF2-40B4-BE49-F238E27FC236}">
                <a16:creationId xmlns:a16="http://schemas.microsoft.com/office/drawing/2014/main" id="{F7A78596-A4B8-43F5-8928-591F8C4EEAA7}"/>
              </a:ext>
            </a:extLst>
          </p:cNvPr>
          <p:cNvSpPr>
            <a:spLocks noGrp="1"/>
          </p:cNvSpPr>
          <p:nvPr>
            <p:ph type="pic" sz="quarter" idx="14" hasCustomPrompt="1"/>
          </p:nvPr>
        </p:nvSpPr>
        <p:spPr>
          <a:xfrm>
            <a:off x="3051194" y="0"/>
            <a:ext cx="3046393" cy="6858000"/>
          </a:xfrm>
          <a:prstGeom prst="rect">
            <a:avLst/>
          </a:prstGeom>
          <a:pattFill prst="wdDnDiag">
            <a:fgClr>
              <a:schemeClr val="tx1">
                <a:lumMod val="25000"/>
                <a:lumOff val="75000"/>
              </a:schemeClr>
            </a:fgClr>
            <a:bgClr>
              <a:schemeClr val="bg1"/>
            </a:bgClr>
          </a:pattFill>
        </p:spPr>
        <p:txBody>
          <a:bodyPr anchor="ctr"/>
          <a:lstStyle>
            <a:lvl1pPr marL="0" marR="0" indent="0" algn="ctr" defTabSz="912756" rtl="0" eaLnBrk="1" fontAlgn="auto" latinLnBrk="0" hangingPunct="1">
              <a:lnSpc>
                <a:spcPct val="90000"/>
              </a:lnSpc>
              <a:spcBef>
                <a:spcPts val="1000"/>
              </a:spcBef>
              <a:spcAft>
                <a:spcPts val="0"/>
              </a:spcAft>
              <a:buClrTx/>
              <a:buSzTx/>
              <a:buFont typeface="Arial" panose="020B0604020202020204" pitchFamily="34" charset="0"/>
              <a:buNone/>
              <a:tabLst/>
              <a:defRPr sz="2794" b="0" i="0">
                <a:solidFill>
                  <a:schemeClr val="tx1"/>
                </a:solidFill>
                <a:latin typeface="72" panose="020B0503030000000003" pitchFamily="34" charset="0"/>
              </a:defRPr>
            </a:lvl1pPr>
          </a:lstStyle>
          <a:p>
            <a:pPr marL="0" marR="0" lvl="0" indent="0" algn="l" defTabSz="912756" rtl="0" eaLnBrk="1" fontAlgn="auto" latinLnBrk="0" hangingPunct="1">
              <a:lnSpc>
                <a:spcPct val="90000"/>
              </a:lnSpc>
              <a:spcBef>
                <a:spcPts val="1000"/>
              </a:spcBef>
              <a:spcAft>
                <a:spcPts val="0"/>
              </a:spcAft>
              <a:buClrTx/>
              <a:buSzTx/>
              <a:buFont typeface="Arial" panose="020B0604020202020204" pitchFamily="34" charset="0"/>
              <a:buNone/>
              <a:tabLst/>
              <a:defRPr/>
            </a:pPr>
            <a:r>
              <a:rPr lang="en-MY"/>
              <a:t>Insert your image here</a:t>
            </a:r>
          </a:p>
        </p:txBody>
      </p:sp>
      <p:sp>
        <p:nvSpPr>
          <p:cNvPr id="15" name="Picture Placeholder 4">
            <a:extLst>
              <a:ext uri="{FF2B5EF4-FFF2-40B4-BE49-F238E27FC236}">
                <a16:creationId xmlns:a16="http://schemas.microsoft.com/office/drawing/2014/main" id="{E059E8E4-56D5-4F0D-A4C2-41DB1C070C39}"/>
              </a:ext>
            </a:extLst>
          </p:cNvPr>
          <p:cNvSpPr>
            <a:spLocks noGrp="1"/>
          </p:cNvSpPr>
          <p:nvPr>
            <p:ph type="pic" sz="quarter" idx="15" hasCustomPrompt="1"/>
          </p:nvPr>
        </p:nvSpPr>
        <p:spPr>
          <a:xfrm>
            <a:off x="6097594" y="0"/>
            <a:ext cx="3046393" cy="6858000"/>
          </a:xfrm>
          <a:prstGeom prst="rect">
            <a:avLst/>
          </a:prstGeom>
          <a:pattFill prst="wdDnDiag">
            <a:fgClr>
              <a:schemeClr val="tx1">
                <a:lumMod val="25000"/>
                <a:lumOff val="75000"/>
              </a:schemeClr>
            </a:fgClr>
            <a:bgClr>
              <a:schemeClr val="bg1"/>
            </a:bgClr>
          </a:pattFill>
        </p:spPr>
        <p:txBody>
          <a:bodyPr anchor="ctr"/>
          <a:lstStyle>
            <a:lvl1pPr marL="0" marR="0" indent="0" algn="ctr" defTabSz="912756" rtl="0" eaLnBrk="1" fontAlgn="auto" latinLnBrk="0" hangingPunct="1">
              <a:lnSpc>
                <a:spcPct val="90000"/>
              </a:lnSpc>
              <a:spcBef>
                <a:spcPts val="1000"/>
              </a:spcBef>
              <a:spcAft>
                <a:spcPts val="0"/>
              </a:spcAft>
              <a:buClrTx/>
              <a:buSzTx/>
              <a:buFont typeface="Arial" panose="020B0604020202020204" pitchFamily="34" charset="0"/>
              <a:buNone/>
              <a:tabLst/>
              <a:defRPr sz="2794" b="0" i="0">
                <a:solidFill>
                  <a:schemeClr val="tx1"/>
                </a:solidFill>
                <a:latin typeface="72" panose="020B0503030000000003" pitchFamily="34" charset="0"/>
              </a:defRPr>
            </a:lvl1pPr>
          </a:lstStyle>
          <a:p>
            <a:pPr marL="0" marR="0" lvl="0" indent="0" algn="l" defTabSz="912756" rtl="0" eaLnBrk="1" fontAlgn="auto" latinLnBrk="0" hangingPunct="1">
              <a:lnSpc>
                <a:spcPct val="90000"/>
              </a:lnSpc>
              <a:spcBef>
                <a:spcPts val="1000"/>
              </a:spcBef>
              <a:spcAft>
                <a:spcPts val="0"/>
              </a:spcAft>
              <a:buClrTx/>
              <a:buSzTx/>
              <a:buFont typeface="Arial" panose="020B0604020202020204" pitchFamily="34" charset="0"/>
              <a:buNone/>
              <a:tabLst/>
              <a:defRPr/>
            </a:pPr>
            <a:r>
              <a:rPr lang="en-MY"/>
              <a:t>Insert your image here</a:t>
            </a:r>
          </a:p>
        </p:txBody>
      </p:sp>
      <p:sp>
        <p:nvSpPr>
          <p:cNvPr id="16" name="Picture Placeholder 4">
            <a:extLst>
              <a:ext uri="{FF2B5EF4-FFF2-40B4-BE49-F238E27FC236}">
                <a16:creationId xmlns:a16="http://schemas.microsoft.com/office/drawing/2014/main" id="{F289ECDE-517E-42D2-8C25-5BEE01D347E4}"/>
              </a:ext>
            </a:extLst>
          </p:cNvPr>
          <p:cNvSpPr>
            <a:spLocks noGrp="1"/>
          </p:cNvSpPr>
          <p:nvPr>
            <p:ph type="pic" sz="quarter" idx="16" hasCustomPrompt="1"/>
          </p:nvPr>
        </p:nvSpPr>
        <p:spPr>
          <a:xfrm>
            <a:off x="9148788" y="0"/>
            <a:ext cx="3046393" cy="6858000"/>
          </a:xfrm>
          <a:prstGeom prst="rect">
            <a:avLst/>
          </a:prstGeom>
          <a:pattFill prst="wdDnDiag">
            <a:fgClr>
              <a:schemeClr val="tx1">
                <a:lumMod val="25000"/>
                <a:lumOff val="75000"/>
              </a:schemeClr>
            </a:fgClr>
            <a:bgClr>
              <a:schemeClr val="bg1"/>
            </a:bgClr>
          </a:pattFill>
        </p:spPr>
        <p:txBody>
          <a:bodyPr anchor="ctr"/>
          <a:lstStyle>
            <a:lvl1pPr marL="0" marR="0" indent="0" algn="ctr" defTabSz="912756" rtl="0" eaLnBrk="1" fontAlgn="auto" latinLnBrk="0" hangingPunct="1">
              <a:lnSpc>
                <a:spcPct val="90000"/>
              </a:lnSpc>
              <a:spcBef>
                <a:spcPts val="1000"/>
              </a:spcBef>
              <a:spcAft>
                <a:spcPts val="0"/>
              </a:spcAft>
              <a:buClrTx/>
              <a:buSzTx/>
              <a:buFont typeface="Arial" panose="020B0604020202020204" pitchFamily="34" charset="0"/>
              <a:buNone/>
              <a:tabLst/>
              <a:defRPr sz="2794" b="0" i="0">
                <a:solidFill>
                  <a:schemeClr val="tx1"/>
                </a:solidFill>
                <a:latin typeface="72" panose="020B0503030000000003" pitchFamily="34" charset="0"/>
              </a:defRPr>
            </a:lvl1pPr>
          </a:lstStyle>
          <a:p>
            <a:pPr marL="0" marR="0" lvl="0" indent="0" algn="l" defTabSz="912756" rtl="0" eaLnBrk="1" fontAlgn="auto" latinLnBrk="0" hangingPunct="1">
              <a:lnSpc>
                <a:spcPct val="90000"/>
              </a:lnSpc>
              <a:spcBef>
                <a:spcPts val="1000"/>
              </a:spcBef>
              <a:spcAft>
                <a:spcPts val="0"/>
              </a:spcAft>
              <a:buClrTx/>
              <a:buSzTx/>
              <a:buFont typeface="Arial" panose="020B0604020202020204" pitchFamily="34" charset="0"/>
              <a:buNone/>
              <a:tabLst/>
              <a:defRPr/>
            </a:pPr>
            <a:r>
              <a:rPr lang="en-MY"/>
              <a:t>Insert your image here</a:t>
            </a:r>
          </a:p>
        </p:txBody>
      </p:sp>
      <p:sp>
        <p:nvSpPr>
          <p:cNvPr id="2" name="Slide Number Placeholder 1">
            <a:extLst>
              <a:ext uri="{FF2B5EF4-FFF2-40B4-BE49-F238E27FC236}">
                <a16:creationId xmlns:a16="http://schemas.microsoft.com/office/drawing/2014/main" id="{D9658C1C-2412-4B99-1C33-9BB7BBDE5E1E}"/>
              </a:ext>
            </a:extLst>
          </p:cNvPr>
          <p:cNvSpPr>
            <a:spLocks noGrp="1"/>
          </p:cNvSpPr>
          <p:nvPr>
            <p:ph type="sldNum" sz="quarter" idx="17"/>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72411259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Image Slideshow with Text 3">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A88AF14F-B91A-4525-9FC3-906CA55DF46B}"/>
              </a:ext>
            </a:extLst>
          </p:cNvPr>
          <p:cNvSpPr>
            <a:spLocks noGrp="1"/>
          </p:cNvSpPr>
          <p:nvPr>
            <p:ph type="pic" sz="quarter" idx="13" hasCustomPrompt="1"/>
          </p:nvPr>
        </p:nvSpPr>
        <p:spPr>
          <a:xfrm>
            <a:off x="0" y="0"/>
            <a:ext cx="12195175" cy="6858000"/>
          </a:xfrm>
          <a:prstGeom prst="rect">
            <a:avLst/>
          </a:prstGeom>
          <a:pattFill prst="wdDnDiag">
            <a:fgClr>
              <a:schemeClr val="tx1">
                <a:lumMod val="25000"/>
                <a:lumOff val="75000"/>
              </a:schemeClr>
            </a:fgClr>
            <a:bgClr>
              <a:schemeClr val="bg1"/>
            </a:bgClr>
          </a:pattFill>
        </p:spPr>
        <p:txBody>
          <a:bodyPr anchor="ctr"/>
          <a:lstStyle>
            <a:lvl1pPr algn="ctr">
              <a:buNone/>
              <a:defRPr b="0" i="0">
                <a:latin typeface="72" panose="020B0503030000000003" pitchFamily="34" charset="0"/>
              </a:defRPr>
            </a:lvl1pPr>
          </a:lstStyle>
          <a:p>
            <a:r>
              <a:rPr lang="en-US"/>
              <a:t>Insert your image here</a:t>
            </a:r>
          </a:p>
        </p:txBody>
      </p:sp>
    </p:spTree>
    <p:extLst>
      <p:ext uri="{BB962C8B-B14F-4D97-AF65-F5344CB8AC3E}">
        <p14:creationId xmlns:p14="http://schemas.microsoft.com/office/powerpoint/2010/main" val="270759810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Image Slideshow with Text">
    <p:spTree>
      <p:nvGrpSpPr>
        <p:cNvPr id="1" name=""/>
        <p:cNvGrpSpPr/>
        <p:nvPr/>
      </p:nvGrpSpPr>
      <p:grpSpPr>
        <a:xfrm>
          <a:off x="0" y="0"/>
          <a:ext cx="0" cy="0"/>
          <a:chOff x="0" y="0"/>
          <a:chExt cx="0" cy="0"/>
        </a:xfrm>
      </p:grpSpPr>
      <p:sp>
        <p:nvSpPr>
          <p:cNvPr id="18" name="Picture Placeholder 4">
            <a:extLst>
              <a:ext uri="{FF2B5EF4-FFF2-40B4-BE49-F238E27FC236}">
                <a16:creationId xmlns:a16="http://schemas.microsoft.com/office/drawing/2014/main" id="{EB5E6BAD-358A-4A58-8757-291459B2B6B0}"/>
              </a:ext>
            </a:extLst>
          </p:cNvPr>
          <p:cNvSpPr>
            <a:spLocks noGrp="1"/>
          </p:cNvSpPr>
          <p:nvPr>
            <p:ph type="pic" sz="quarter" idx="13" hasCustomPrompt="1"/>
          </p:nvPr>
        </p:nvSpPr>
        <p:spPr>
          <a:xfrm>
            <a:off x="598642" y="667092"/>
            <a:ext cx="10997888" cy="4209708"/>
          </a:xfrm>
          <a:prstGeom prst="roundRect">
            <a:avLst>
              <a:gd name="adj" fmla="val 2205"/>
            </a:avLst>
          </a:prstGeom>
          <a:pattFill prst="wdDnDiag">
            <a:fgClr>
              <a:schemeClr val="tx1">
                <a:lumMod val="25000"/>
                <a:lumOff val="75000"/>
              </a:schemeClr>
            </a:fgClr>
            <a:bgClr>
              <a:schemeClr val="bg1"/>
            </a:bgClr>
          </a:pattFill>
          <a:effectLst>
            <a:outerShdw blurRad="381000" algn="ctr" rotWithShape="0">
              <a:prstClr val="black">
                <a:alpha val="20000"/>
              </a:prstClr>
            </a:outerShdw>
          </a:effectLst>
        </p:spPr>
        <p:txBody>
          <a:bodyPr anchor="ctr"/>
          <a:lstStyle>
            <a:lvl1pPr algn="ctr">
              <a:buNone/>
              <a:defRPr b="0" i="0">
                <a:latin typeface="72" panose="020B0503030000000003" pitchFamily="34" charset="0"/>
              </a:defRPr>
            </a:lvl1pPr>
          </a:lstStyle>
          <a:p>
            <a:r>
              <a:rPr lang="en-US"/>
              <a:t>Insert your image here</a:t>
            </a:r>
          </a:p>
        </p:txBody>
      </p:sp>
      <p:sp>
        <p:nvSpPr>
          <p:cNvPr id="2" name="Slide Number Placeholder 1">
            <a:extLst>
              <a:ext uri="{FF2B5EF4-FFF2-40B4-BE49-F238E27FC236}">
                <a16:creationId xmlns:a16="http://schemas.microsoft.com/office/drawing/2014/main" id="{2FC388EC-4107-F934-0394-D7F1C12FF4C3}"/>
              </a:ext>
            </a:extLst>
          </p:cNvPr>
          <p:cNvSpPr>
            <a:spLocks noGrp="1"/>
          </p:cNvSpPr>
          <p:nvPr>
            <p:ph type="sldNum" sz="quarter" idx="14"/>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334834088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Quotes 12">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1F6B993A-427A-499E-9D74-1D94D3661DFF}"/>
              </a:ext>
            </a:extLst>
          </p:cNvPr>
          <p:cNvSpPr>
            <a:spLocks noGrp="1"/>
          </p:cNvSpPr>
          <p:nvPr>
            <p:ph type="pic" sz="quarter" idx="14" hasCustomPrompt="1"/>
          </p:nvPr>
        </p:nvSpPr>
        <p:spPr>
          <a:xfrm>
            <a:off x="488704" y="549000"/>
            <a:ext cx="5607185" cy="5760000"/>
          </a:xfrm>
          <a:prstGeom prst="roundRect">
            <a:avLst>
              <a:gd name="adj" fmla="val 0"/>
            </a:avLst>
          </a:prstGeom>
          <a:pattFill prst="wdDnDiag">
            <a:fgClr>
              <a:schemeClr val="tx1">
                <a:lumMod val="25000"/>
                <a:lumOff val="75000"/>
              </a:schemeClr>
            </a:fgClr>
            <a:bgClr>
              <a:schemeClr val="bg1"/>
            </a:bgClr>
          </a:pattFill>
        </p:spPr>
        <p:txBody>
          <a:bodyPr anchor="ctr"/>
          <a:lstStyle>
            <a:lvl1pPr marL="0" indent="0" algn="ctr">
              <a:buNone/>
              <a:defRPr sz="1994" b="0" i="0">
                <a:latin typeface="72" panose="020B0503030000000003" pitchFamily="34" charset="0"/>
              </a:defRPr>
            </a:lvl1pPr>
          </a:lstStyle>
          <a:p>
            <a:r>
              <a:rPr lang="en-MY"/>
              <a:t>Insert your image here</a:t>
            </a:r>
          </a:p>
        </p:txBody>
      </p:sp>
      <p:sp>
        <p:nvSpPr>
          <p:cNvPr id="2" name="Slide Number Placeholder 1">
            <a:extLst>
              <a:ext uri="{FF2B5EF4-FFF2-40B4-BE49-F238E27FC236}">
                <a16:creationId xmlns:a16="http://schemas.microsoft.com/office/drawing/2014/main" id="{29496CBB-D8CD-6B18-3254-0656D547D51B}"/>
              </a:ext>
            </a:extLst>
          </p:cNvPr>
          <p:cNvSpPr>
            <a:spLocks noGrp="1"/>
          </p:cNvSpPr>
          <p:nvPr>
            <p:ph type="sldNum" sz="quarter" idx="15"/>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408065367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Company Overview 3">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419" y="371728"/>
            <a:ext cx="10518338" cy="886732"/>
          </a:xfrm>
          <a:prstGeom prst="rect">
            <a:avLst/>
          </a:prstGeom>
        </p:spPr>
        <p:txBody>
          <a:bodyPr anchor="ctr"/>
          <a:lstStyle>
            <a:lvl1pPr algn="ctr">
              <a:defRPr sz="3594" b="0" i="0">
                <a:solidFill>
                  <a:schemeClr val="tx1"/>
                </a:solidFill>
                <a:latin typeface="72" panose="020B0503030000000003" pitchFamily="34" charset="0"/>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397" y="1051062"/>
            <a:ext cx="9146381" cy="436562"/>
          </a:xfrm>
          <a:prstGeom prst="rect">
            <a:avLst/>
          </a:prstGeom>
        </p:spPr>
        <p:txBody>
          <a:bodyPr>
            <a:normAutofit/>
          </a:bodyPr>
          <a:lstStyle>
            <a:lvl1pPr marL="0" indent="0" algn="ctr">
              <a:buNone/>
              <a:defRPr sz="1794" b="0" i="0">
                <a:solidFill>
                  <a:schemeClr val="tx1"/>
                </a:solidFill>
                <a:latin typeface="72" panose="020B0503030000000003" pitchFamily="34" charset="0"/>
              </a:defRPr>
            </a:lvl1pPr>
            <a:lvl2pPr marL="456378" indent="0" algn="ctr">
              <a:buNone/>
              <a:defRPr sz="1994"/>
            </a:lvl2pPr>
            <a:lvl3pPr marL="912756" indent="0" algn="ctr">
              <a:buNone/>
              <a:defRPr sz="1794"/>
            </a:lvl3pPr>
            <a:lvl4pPr marL="1369134" indent="0" algn="ctr">
              <a:buNone/>
              <a:defRPr sz="1600"/>
            </a:lvl4pPr>
            <a:lvl5pPr marL="1825511" indent="0" algn="ctr">
              <a:buNone/>
              <a:defRPr sz="1600"/>
            </a:lvl5pPr>
            <a:lvl6pPr marL="2281888" indent="0" algn="ctr">
              <a:buNone/>
              <a:defRPr sz="1600"/>
            </a:lvl6pPr>
            <a:lvl7pPr marL="2738266" indent="0" algn="ctr">
              <a:buNone/>
              <a:defRPr sz="1600"/>
            </a:lvl7pPr>
            <a:lvl8pPr marL="3194643" indent="0" algn="ctr">
              <a:buNone/>
              <a:defRPr sz="1600"/>
            </a:lvl8pPr>
            <a:lvl9pPr marL="3651021" indent="0" algn="ctr">
              <a:buNone/>
              <a:defRPr sz="1600"/>
            </a:lvl9pPr>
          </a:lstStyle>
          <a:p>
            <a:r>
              <a:rPr lang="en-US"/>
              <a:t>Insert your awesome subtitle here</a:t>
            </a:r>
            <a:endParaRPr lang="en-MY"/>
          </a:p>
        </p:txBody>
      </p:sp>
      <p:sp>
        <p:nvSpPr>
          <p:cNvPr id="26" name="Picture Placeholder 5">
            <a:extLst>
              <a:ext uri="{FF2B5EF4-FFF2-40B4-BE49-F238E27FC236}">
                <a16:creationId xmlns:a16="http://schemas.microsoft.com/office/drawing/2014/main" id="{9A652012-F096-4D5A-B8A3-3313AF79876C}"/>
              </a:ext>
            </a:extLst>
          </p:cNvPr>
          <p:cNvSpPr>
            <a:spLocks noGrp="1"/>
          </p:cNvSpPr>
          <p:nvPr>
            <p:ph type="pic" sz="quarter" idx="14" hasCustomPrompt="1"/>
          </p:nvPr>
        </p:nvSpPr>
        <p:spPr>
          <a:xfrm>
            <a:off x="488704" y="1742517"/>
            <a:ext cx="2698508" cy="2231968"/>
          </a:xfrm>
          <a:prstGeom prst="roundRect">
            <a:avLst>
              <a:gd name="adj" fmla="val 2892"/>
            </a:avLst>
          </a:prstGeom>
          <a:pattFill prst="wdDnDiag">
            <a:fgClr>
              <a:schemeClr val="tx1">
                <a:lumMod val="25000"/>
                <a:lumOff val="75000"/>
              </a:schemeClr>
            </a:fgClr>
            <a:bgClr>
              <a:schemeClr val="bg1"/>
            </a:bgClr>
          </a:pattFill>
        </p:spPr>
        <p:txBody>
          <a:bodyPr anchor="ctr"/>
          <a:lstStyle>
            <a:lvl1pPr marL="0" indent="0" algn="ctr">
              <a:buNone/>
              <a:defRPr sz="1994" b="0" i="0">
                <a:latin typeface="72" panose="020B0503030000000003" pitchFamily="34" charset="0"/>
              </a:defRPr>
            </a:lvl1pPr>
          </a:lstStyle>
          <a:p>
            <a:r>
              <a:rPr lang="en-MY"/>
              <a:t>Insert your image here</a:t>
            </a:r>
          </a:p>
        </p:txBody>
      </p:sp>
      <p:sp>
        <p:nvSpPr>
          <p:cNvPr id="27" name="Picture Placeholder 5">
            <a:extLst>
              <a:ext uri="{FF2B5EF4-FFF2-40B4-BE49-F238E27FC236}">
                <a16:creationId xmlns:a16="http://schemas.microsoft.com/office/drawing/2014/main" id="{EF055F06-F2F2-41E1-90AF-6A9CA00C1765}"/>
              </a:ext>
            </a:extLst>
          </p:cNvPr>
          <p:cNvSpPr>
            <a:spLocks noGrp="1"/>
          </p:cNvSpPr>
          <p:nvPr>
            <p:ph type="pic" sz="quarter" idx="15" hasCustomPrompt="1"/>
          </p:nvPr>
        </p:nvSpPr>
        <p:spPr>
          <a:xfrm>
            <a:off x="3327893" y="1742517"/>
            <a:ext cx="2698508" cy="2231968"/>
          </a:xfrm>
          <a:prstGeom prst="roundRect">
            <a:avLst>
              <a:gd name="adj" fmla="val 2892"/>
            </a:avLst>
          </a:prstGeom>
          <a:pattFill prst="wdDnDiag">
            <a:fgClr>
              <a:schemeClr val="tx1">
                <a:lumMod val="25000"/>
                <a:lumOff val="75000"/>
              </a:schemeClr>
            </a:fgClr>
            <a:bgClr>
              <a:schemeClr val="bg1"/>
            </a:bgClr>
          </a:pattFill>
        </p:spPr>
        <p:txBody>
          <a:bodyPr anchor="ctr"/>
          <a:lstStyle>
            <a:lvl1pPr marL="0" indent="0" algn="ctr">
              <a:buNone/>
              <a:defRPr sz="1994" b="0" i="0">
                <a:latin typeface="72" panose="020B0503030000000003" pitchFamily="34" charset="0"/>
              </a:defRPr>
            </a:lvl1pPr>
          </a:lstStyle>
          <a:p>
            <a:r>
              <a:rPr lang="en-MY"/>
              <a:t>Insert your image here</a:t>
            </a:r>
          </a:p>
        </p:txBody>
      </p:sp>
      <p:sp>
        <p:nvSpPr>
          <p:cNvPr id="28" name="Picture Placeholder 5">
            <a:extLst>
              <a:ext uri="{FF2B5EF4-FFF2-40B4-BE49-F238E27FC236}">
                <a16:creationId xmlns:a16="http://schemas.microsoft.com/office/drawing/2014/main" id="{358D2AF6-E244-4B76-B419-2355E0B4D3B3}"/>
              </a:ext>
            </a:extLst>
          </p:cNvPr>
          <p:cNvSpPr>
            <a:spLocks noGrp="1"/>
          </p:cNvSpPr>
          <p:nvPr>
            <p:ph type="pic" sz="quarter" idx="16" hasCustomPrompt="1"/>
          </p:nvPr>
        </p:nvSpPr>
        <p:spPr>
          <a:xfrm>
            <a:off x="6167082" y="1742517"/>
            <a:ext cx="2698508" cy="2231968"/>
          </a:xfrm>
          <a:prstGeom prst="roundRect">
            <a:avLst>
              <a:gd name="adj" fmla="val 2892"/>
            </a:avLst>
          </a:prstGeom>
          <a:pattFill prst="wdDnDiag">
            <a:fgClr>
              <a:schemeClr val="tx1">
                <a:lumMod val="25000"/>
                <a:lumOff val="75000"/>
              </a:schemeClr>
            </a:fgClr>
            <a:bgClr>
              <a:schemeClr val="bg1"/>
            </a:bgClr>
          </a:pattFill>
        </p:spPr>
        <p:txBody>
          <a:bodyPr anchor="ctr"/>
          <a:lstStyle>
            <a:lvl1pPr marL="0" indent="0" algn="ctr">
              <a:buNone/>
              <a:defRPr sz="1994" b="0" i="0">
                <a:latin typeface="72" panose="020B0503030000000003" pitchFamily="34" charset="0"/>
              </a:defRPr>
            </a:lvl1pPr>
          </a:lstStyle>
          <a:p>
            <a:r>
              <a:rPr lang="en-MY"/>
              <a:t>Insert your image here</a:t>
            </a:r>
          </a:p>
        </p:txBody>
      </p:sp>
      <p:sp>
        <p:nvSpPr>
          <p:cNvPr id="29" name="Picture Placeholder 5">
            <a:extLst>
              <a:ext uri="{FF2B5EF4-FFF2-40B4-BE49-F238E27FC236}">
                <a16:creationId xmlns:a16="http://schemas.microsoft.com/office/drawing/2014/main" id="{4F4E1D8E-047F-4AFC-93A8-7C30AE6184C1}"/>
              </a:ext>
            </a:extLst>
          </p:cNvPr>
          <p:cNvSpPr>
            <a:spLocks noGrp="1"/>
          </p:cNvSpPr>
          <p:nvPr>
            <p:ph type="pic" sz="quarter" idx="17" hasCustomPrompt="1"/>
          </p:nvPr>
        </p:nvSpPr>
        <p:spPr>
          <a:xfrm>
            <a:off x="9006265" y="1742517"/>
            <a:ext cx="2698508" cy="2231968"/>
          </a:xfrm>
          <a:prstGeom prst="roundRect">
            <a:avLst>
              <a:gd name="adj" fmla="val 2892"/>
            </a:avLst>
          </a:prstGeom>
          <a:pattFill prst="wdDnDiag">
            <a:fgClr>
              <a:schemeClr val="tx1">
                <a:lumMod val="25000"/>
                <a:lumOff val="75000"/>
              </a:schemeClr>
            </a:fgClr>
            <a:bgClr>
              <a:schemeClr val="bg1"/>
            </a:bgClr>
          </a:pattFill>
        </p:spPr>
        <p:txBody>
          <a:bodyPr anchor="ctr"/>
          <a:lstStyle>
            <a:lvl1pPr marL="0" indent="0" algn="ctr">
              <a:buNone/>
              <a:defRPr sz="1994" b="0" i="0">
                <a:latin typeface="72" panose="020B0503030000000003" pitchFamily="34" charset="0"/>
              </a:defRPr>
            </a:lvl1pPr>
          </a:lstStyle>
          <a:p>
            <a:r>
              <a:rPr lang="en-MY"/>
              <a:t>Insert your image here</a:t>
            </a:r>
          </a:p>
        </p:txBody>
      </p:sp>
      <p:sp>
        <p:nvSpPr>
          <p:cNvPr id="30" name="Picture Placeholder 5">
            <a:extLst>
              <a:ext uri="{FF2B5EF4-FFF2-40B4-BE49-F238E27FC236}">
                <a16:creationId xmlns:a16="http://schemas.microsoft.com/office/drawing/2014/main" id="{26957D83-E845-43BC-A4F1-6C8318618C3D}"/>
              </a:ext>
            </a:extLst>
          </p:cNvPr>
          <p:cNvSpPr>
            <a:spLocks noGrp="1"/>
          </p:cNvSpPr>
          <p:nvPr>
            <p:ph type="pic" sz="quarter" idx="18" hasCustomPrompt="1"/>
          </p:nvPr>
        </p:nvSpPr>
        <p:spPr>
          <a:xfrm>
            <a:off x="488704" y="4092632"/>
            <a:ext cx="2698508" cy="2231968"/>
          </a:xfrm>
          <a:prstGeom prst="roundRect">
            <a:avLst>
              <a:gd name="adj" fmla="val 2892"/>
            </a:avLst>
          </a:prstGeom>
          <a:pattFill prst="wdDnDiag">
            <a:fgClr>
              <a:schemeClr val="tx1">
                <a:lumMod val="25000"/>
                <a:lumOff val="75000"/>
              </a:schemeClr>
            </a:fgClr>
            <a:bgClr>
              <a:schemeClr val="bg1"/>
            </a:bgClr>
          </a:pattFill>
        </p:spPr>
        <p:txBody>
          <a:bodyPr anchor="ctr"/>
          <a:lstStyle>
            <a:lvl1pPr marL="0" indent="0" algn="ctr">
              <a:buNone/>
              <a:defRPr sz="1994" b="0" i="0">
                <a:latin typeface="72" panose="020B0503030000000003" pitchFamily="34" charset="0"/>
              </a:defRPr>
            </a:lvl1pPr>
          </a:lstStyle>
          <a:p>
            <a:r>
              <a:rPr lang="en-MY"/>
              <a:t>Insert your image here</a:t>
            </a:r>
          </a:p>
        </p:txBody>
      </p:sp>
      <p:sp>
        <p:nvSpPr>
          <p:cNvPr id="31" name="Picture Placeholder 5">
            <a:extLst>
              <a:ext uri="{FF2B5EF4-FFF2-40B4-BE49-F238E27FC236}">
                <a16:creationId xmlns:a16="http://schemas.microsoft.com/office/drawing/2014/main" id="{9541E820-EAA2-420E-9258-8ED61BC2FACD}"/>
              </a:ext>
            </a:extLst>
          </p:cNvPr>
          <p:cNvSpPr>
            <a:spLocks noGrp="1"/>
          </p:cNvSpPr>
          <p:nvPr>
            <p:ph type="pic" sz="quarter" idx="19" hasCustomPrompt="1"/>
          </p:nvPr>
        </p:nvSpPr>
        <p:spPr>
          <a:xfrm>
            <a:off x="3327893" y="4092632"/>
            <a:ext cx="2698508" cy="2231968"/>
          </a:xfrm>
          <a:prstGeom prst="roundRect">
            <a:avLst>
              <a:gd name="adj" fmla="val 2892"/>
            </a:avLst>
          </a:prstGeom>
          <a:pattFill prst="wdDnDiag">
            <a:fgClr>
              <a:schemeClr val="tx1">
                <a:lumMod val="25000"/>
                <a:lumOff val="75000"/>
              </a:schemeClr>
            </a:fgClr>
            <a:bgClr>
              <a:schemeClr val="bg1"/>
            </a:bgClr>
          </a:pattFill>
        </p:spPr>
        <p:txBody>
          <a:bodyPr anchor="ctr"/>
          <a:lstStyle>
            <a:lvl1pPr marL="0" indent="0" algn="ctr">
              <a:buNone/>
              <a:defRPr sz="1994" b="0" i="0">
                <a:latin typeface="72" panose="020B0503030000000003" pitchFamily="34" charset="0"/>
              </a:defRPr>
            </a:lvl1pPr>
          </a:lstStyle>
          <a:p>
            <a:r>
              <a:rPr lang="en-MY"/>
              <a:t>Insert your image here</a:t>
            </a:r>
          </a:p>
        </p:txBody>
      </p:sp>
      <p:sp>
        <p:nvSpPr>
          <p:cNvPr id="32" name="Picture Placeholder 5">
            <a:extLst>
              <a:ext uri="{FF2B5EF4-FFF2-40B4-BE49-F238E27FC236}">
                <a16:creationId xmlns:a16="http://schemas.microsoft.com/office/drawing/2014/main" id="{E845D6CC-5534-46E0-8C12-EAA544716E44}"/>
              </a:ext>
            </a:extLst>
          </p:cNvPr>
          <p:cNvSpPr>
            <a:spLocks noGrp="1"/>
          </p:cNvSpPr>
          <p:nvPr>
            <p:ph type="pic" sz="quarter" idx="20" hasCustomPrompt="1"/>
          </p:nvPr>
        </p:nvSpPr>
        <p:spPr>
          <a:xfrm>
            <a:off x="6167082" y="4092632"/>
            <a:ext cx="2698508" cy="2231968"/>
          </a:xfrm>
          <a:prstGeom prst="roundRect">
            <a:avLst>
              <a:gd name="adj" fmla="val 2892"/>
            </a:avLst>
          </a:prstGeom>
          <a:pattFill prst="wdDnDiag">
            <a:fgClr>
              <a:schemeClr val="tx1">
                <a:lumMod val="25000"/>
                <a:lumOff val="75000"/>
              </a:schemeClr>
            </a:fgClr>
            <a:bgClr>
              <a:schemeClr val="bg1"/>
            </a:bgClr>
          </a:pattFill>
        </p:spPr>
        <p:txBody>
          <a:bodyPr anchor="ctr"/>
          <a:lstStyle>
            <a:lvl1pPr marL="0" indent="0" algn="ctr">
              <a:buNone/>
              <a:defRPr sz="1994" b="0" i="0">
                <a:latin typeface="72" panose="020B0503030000000003" pitchFamily="34" charset="0"/>
              </a:defRPr>
            </a:lvl1pPr>
          </a:lstStyle>
          <a:p>
            <a:r>
              <a:rPr lang="en-MY"/>
              <a:t>Insert your image here</a:t>
            </a:r>
          </a:p>
        </p:txBody>
      </p:sp>
      <p:sp>
        <p:nvSpPr>
          <p:cNvPr id="33" name="Picture Placeholder 5">
            <a:extLst>
              <a:ext uri="{FF2B5EF4-FFF2-40B4-BE49-F238E27FC236}">
                <a16:creationId xmlns:a16="http://schemas.microsoft.com/office/drawing/2014/main" id="{14FE8136-E2DE-476E-B22A-A1BA015A92B6}"/>
              </a:ext>
            </a:extLst>
          </p:cNvPr>
          <p:cNvSpPr>
            <a:spLocks noGrp="1"/>
          </p:cNvSpPr>
          <p:nvPr>
            <p:ph type="pic" sz="quarter" idx="21" hasCustomPrompt="1"/>
          </p:nvPr>
        </p:nvSpPr>
        <p:spPr>
          <a:xfrm>
            <a:off x="9006265" y="4092632"/>
            <a:ext cx="2698508" cy="2231968"/>
          </a:xfrm>
          <a:prstGeom prst="roundRect">
            <a:avLst>
              <a:gd name="adj" fmla="val 2892"/>
            </a:avLst>
          </a:prstGeom>
          <a:pattFill prst="wdDnDiag">
            <a:fgClr>
              <a:schemeClr val="tx1">
                <a:lumMod val="25000"/>
                <a:lumOff val="75000"/>
              </a:schemeClr>
            </a:fgClr>
            <a:bgClr>
              <a:schemeClr val="bg1"/>
            </a:bgClr>
          </a:pattFill>
        </p:spPr>
        <p:txBody>
          <a:bodyPr anchor="ctr"/>
          <a:lstStyle>
            <a:lvl1pPr marL="0" indent="0" algn="ctr">
              <a:buNone/>
              <a:defRPr sz="1994" b="0" i="0">
                <a:latin typeface="72" panose="020B0503030000000003" pitchFamily="34" charset="0"/>
              </a:defRPr>
            </a:lvl1pPr>
          </a:lstStyle>
          <a:p>
            <a:r>
              <a:rPr lang="en-MY"/>
              <a:t>Insert your image here</a:t>
            </a:r>
          </a:p>
        </p:txBody>
      </p:sp>
    </p:spTree>
    <p:extLst>
      <p:ext uri="{BB962C8B-B14F-4D97-AF65-F5344CB8AC3E}">
        <p14:creationId xmlns:p14="http://schemas.microsoft.com/office/powerpoint/2010/main" val="320712850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Services with Image 4">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419" y="371728"/>
            <a:ext cx="10518338" cy="886732"/>
          </a:xfrm>
          <a:prstGeom prst="rect">
            <a:avLst/>
          </a:prstGeom>
        </p:spPr>
        <p:txBody>
          <a:bodyPr anchor="ctr"/>
          <a:lstStyle>
            <a:lvl1pPr algn="ctr">
              <a:defRPr sz="3594" b="0" i="0">
                <a:solidFill>
                  <a:schemeClr val="tx1"/>
                </a:solidFill>
                <a:latin typeface="72" panose="020B0503030000000003" pitchFamily="34" charset="0"/>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397" y="1051062"/>
            <a:ext cx="9146381" cy="436562"/>
          </a:xfrm>
          <a:prstGeom prst="rect">
            <a:avLst/>
          </a:prstGeom>
        </p:spPr>
        <p:txBody>
          <a:bodyPr>
            <a:normAutofit/>
          </a:bodyPr>
          <a:lstStyle>
            <a:lvl1pPr marL="0" indent="0" algn="ctr">
              <a:buNone/>
              <a:defRPr sz="1794" b="0" i="0">
                <a:solidFill>
                  <a:schemeClr val="tx1"/>
                </a:solidFill>
                <a:latin typeface="72" panose="020B0503030000000003" pitchFamily="34" charset="0"/>
              </a:defRPr>
            </a:lvl1pPr>
            <a:lvl2pPr marL="456378" indent="0" algn="ctr">
              <a:buNone/>
              <a:defRPr sz="1994"/>
            </a:lvl2pPr>
            <a:lvl3pPr marL="912756" indent="0" algn="ctr">
              <a:buNone/>
              <a:defRPr sz="1794"/>
            </a:lvl3pPr>
            <a:lvl4pPr marL="1369134" indent="0" algn="ctr">
              <a:buNone/>
              <a:defRPr sz="1600"/>
            </a:lvl4pPr>
            <a:lvl5pPr marL="1825511" indent="0" algn="ctr">
              <a:buNone/>
              <a:defRPr sz="1600"/>
            </a:lvl5pPr>
            <a:lvl6pPr marL="2281888" indent="0" algn="ctr">
              <a:buNone/>
              <a:defRPr sz="1600"/>
            </a:lvl6pPr>
            <a:lvl7pPr marL="2738266" indent="0" algn="ctr">
              <a:buNone/>
              <a:defRPr sz="1600"/>
            </a:lvl7pPr>
            <a:lvl8pPr marL="3194643" indent="0" algn="ctr">
              <a:buNone/>
              <a:defRPr sz="1600"/>
            </a:lvl8pPr>
            <a:lvl9pPr marL="3651021" indent="0" algn="ctr">
              <a:buNone/>
              <a:defRPr sz="1600"/>
            </a:lvl9pPr>
          </a:lstStyle>
          <a:p>
            <a:r>
              <a:rPr lang="en-US"/>
              <a:t>Insert your awesome subtitle here</a:t>
            </a:r>
            <a:endParaRPr lang="en-MY"/>
          </a:p>
        </p:txBody>
      </p:sp>
      <p:sp>
        <p:nvSpPr>
          <p:cNvPr id="26" name="Picture Placeholder 5">
            <a:extLst>
              <a:ext uri="{FF2B5EF4-FFF2-40B4-BE49-F238E27FC236}">
                <a16:creationId xmlns:a16="http://schemas.microsoft.com/office/drawing/2014/main" id="{9A652012-F096-4D5A-B8A3-3313AF79876C}"/>
              </a:ext>
            </a:extLst>
          </p:cNvPr>
          <p:cNvSpPr>
            <a:spLocks noGrp="1"/>
          </p:cNvSpPr>
          <p:nvPr>
            <p:ph type="pic" sz="quarter" idx="14" hasCustomPrompt="1"/>
          </p:nvPr>
        </p:nvSpPr>
        <p:spPr>
          <a:xfrm>
            <a:off x="488704" y="1742517"/>
            <a:ext cx="2698508" cy="2231968"/>
          </a:xfrm>
          <a:prstGeom prst="roundRect">
            <a:avLst>
              <a:gd name="adj" fmla="val 2892"/>
            </a:avLst>
          </a:prstGeom>
          <a:pattFill prst="wdDnDiag">
            <a:fgClr>
              <a:schemeClr val="tx1">
                <a:lumMod val="25000"/>
                <a:lumOff val="75000"/>
              </a:schemeClr>
            </a:fgClr>
            <a:bgClr>
              <a:schemeClr val="bg1"/>
            </a:bgClr>
          </a:pattFill>
          <a:effectLst/>
        </p:spPr>
        <p:txBody>
          <a:bodyPr anchor="ctr"/>
          <a:lstStyle>
            <a:lvl1pPr marL="0" indent="0" algn="ctr">
              <a:buNone/>
              <a:defRPr sz="1994" b="0" i="0">
                <a:latin typeface="72" panose="020B0503030000000003" pitchFamily="34" charset="0"/>
              </a:defRPr>
            </a:lvl1pPr>
          </a:lstStyle>
          <a:p>
            <a:r>
              <a:rPr lang="en-MY"/>
              <a:t>Insert your image here</a:t>
            </a:r>
          </a:p>
        </p:txBody>
      </p:sp>
      <p:sp>
        <p:nvSpPr>
          <p:cNvPr id="27" name="Picture Placeholder 5">
            <a:extLst>
              <a:ext uri="{FF2B5EF4-FFF2-40B4-BE49-F238E27FC236}">
                <a16:creationId xmlns:a16="http://schemas.microsoft.com/office/drawing/2014/main" id="{EF055F06-F2F2-41E1-90AF-6A9CA00C1765}"/>
              </a:ext>
            </a:extLst>
          </p:cNvPr>
          <p:cNvSpPr>
            <a:spLocks noGrp="1"/>
          </p:cNvSpPr>
          <p:nvPr>
            <p:ph type="pic" sz="quarter" idx="15" hasCustomPrompt="1"/>
          </p:nvPr>
        </p:nvSpPr>
        <p:spPr>
          <a:xfrm>
            <a:off x="3327893" y="1742517"/>
            <a:ext cx="2698508" cy="2231968"/>
          </a:xfrm>
          <a:prstGeom prst="roundRect">
            <a:avLst>
              <a:gd name="adj" fmla="val 2892"/>
            </a:avLst>
          </a:prstGeom>
          <a:pattFill prst="wdDnDiag">
            <a:fgClr>
              <a:schemeClr val="tx1">
                <a:lumMod val="25000"/>
                <a:lumOff val="75000"/>
              </a:schemeClr>
            </a:fgClr>
            <a:bgClr>
              <a:schemeClr val="bg1"/>
            </a:bgClr>
          </a:pattFill>
          <a:effectLst/>
        </p:spPr>
        <p:txBody>
          <a:bodyPr anchor="ctr"/>
          <a:lstStyle>
            <a:lvl1pPr marL="0" indent="0" algn="ctr">
              <a:buNone/>
              <a:defRPr sz="1994" b="0" i="0">
                <a:latin typeface="72" panose="020B0503030000000003" pitchFamily="34" charset="0"/>
              </a:defRPr>
            </a:lvl1pPr>
          </a:lstStyle>
          <a:p>
            <a:r>
              <a:rPr lang="en-MY"/>
              <a:t>Insert your image here</a:t>
            </a:r>
          </a:p>
        </p:txBody>
      </p:sp>
      <p:sp>
        <p:nvSpPr>
          <p:cNvPr id="28" name="Picture Placeholder 5">
            <a:extLst>
              <a:ext uri="{FF2B5EF4-FFF2-40B4-BE49-F238E27FC236}">
                <a16:creationId xmlns:a16="http://schemas.microsoft.com/office/drawing/2014/main" id="{358D2AF6-E244-4B76-B419-2355E0B4D3B3}"/>
              </a:ext>
            </a:extLst>
          </p:cNvPr>
          <p:cNvSpPr>
            <a:spLocks noGrp="1"/>
          </p:cNvSpPr>
          <p:nvPr>
            <p:ph type="pic" sz="quarter" idx="16" hasCustomPrompt="1"/>
          </p:nvPr>
        </p:nvSpPr>
        <p:spPr>
          <a:xfrm>
            <a:off x="6167082" y="1742517"/>
            <a:ext cx="2698508" cy="2231968"/>
          </a:xfrm>
          <a:prstGeom prst="roundRect">
            <a:avLst>
              <a:gd name="adj" fmla="val 2892"/>
            </a:avLst>
          </a:prstGeom>
          <a:pattFill prst="wdDnDiag">
            <a:fgClr>
              <a:schemeClr val="tx1">
                <a:lumMod val="25000"/>
                <a:lumOff val="75000"/>
              </a:schemeClr>
            </a:fgClr>
            <a:bgClr>
              <a:schemeClr val="bg1"/>
            </a:bgClr>
          </a:pattFill>
          <a:effectLst/>
        </p:spPr>
        <p:txBody>
          <a:bodyPr anchor="ctr"/>
          <a:lstStyle>
            <a:lvl1pPr marL="0" indent="0" algn="ctr">
              <a:buNone/>
              <a:defRPr sz="1994" b="0" i="0">
                <a:latin typeface="72" panose="020B0503030000000003" pitchFamily="34" charset="0"/>
              </a:defRPr>
            </a:lvl1pPr>
          </a:lstStyle>
          <a:p>
            <a:r>
              <a:rPr lang="en-MY"/>
              <a:t>Insert your image here</a:t>
            </a:r>
          </a:p>
        </p:txBody>
      </p:sp>
      <p:sp>
        <p:nvSpPr>
          <p:cNvPr id="29" name="Picture Placeholder 5">
            <a:extLst>
              <a:ext uri="{FF2B5EF4-FFF2-40B4-BE49-F238E27FC236}">
                <a16:creationId xmlns:a16="http://schemas.microsoft.com/office/drawing/2014/main" id="{4F4E1D8E-047F-4AFC-93A8-7C30AE6184C1}"/>
              </a:ext>
            </a:extLst>
          </p:cNvPr>
          <p:cNvSpPr>
            <a:spLocks noGrp="1"/>
          </p:cNvSpPr>
          <p:nvPr>
            <p:ph type="pic" sz="quarter" idx="17" hasCustomPrompt="1"/>
          </p:nvPr>
        </p:nvSpPr>
        <p:spPr>
          <a:xfrm>
            <a:off x="9006265" y="1742517"/>
            <a:ext cx="2698508" cy="2231968"/>
          </a:xfrm>
          <a:prstGeom prst="roundRect">
            <a:avLst>
              <a:gd name="adj" fmla="val 2892"/>
            </a:avLst>
          </a:prstGeom>
          <a:pattFill prst="wdDnDiag">
            <a:fgClr>
              <a:schemeClr val="tx1">
                <a:lumMod val="25000"/>
                <a:lumOff val="75000"/>
              </a:schemeClr>
            </a:fgClr>
            <a:bgClr>
              <a:schemeClr val="bg1"/>
            </a:bgClr>
          </a:pattFill>
          <a:effectLst/>
        </p:spPr>
        <p:txBody>
          <a:bodyPr anchor="ctr"/>
          <a:lstStyle>
            <a:lvl1pPr marL="0" indent="0" algn="ctr">
              <a:buNone/>
              <a:defRPr sz="1994" b="0" i="0">
                <a:latin typeface="72" panose="020B0503030000000003" pitchFamily="34" charset="0"/>
              </a:defRPr>
            </a:lvl1pPr>
          </a:lstStyle>
          <a:p>
            <a:r>
              <a:rPr lang="en-MY"/>
              <a:t>Insert your image here</a:t>
            </a:r>
          </a:p>
        </p:txBody>
      </p:sp>
      <p:sp>
        <p:nvSpPr>
          <p:cNvPr id="2" name="Slide Number Placeholder 1">
            <a:extLst>
              <a:ext uri="{FF2B5EF4-FFF2-40B4-BE49-F238E27FC236}">
                <a16:creationId xmlns:a16="http://schemas.microsoft.com/office/drawing/2014/main" id="{95F831EE-6CA7-A7FE-7856-2406BA8371E6}"/>
              </a:ext>
            </a:extLst>
          </p:cNvPr>
          <p:cNvSpPr>
            <a:spLocks noGrp="1"/>
          </p:cNvSpPr>
          <p:nvPr>
            <p:ph type="sldNum" sz="quarter" idx="18"/>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22304635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6" userDrawn="1">
          <p15:clr>
            <a:srgbClr val="FBAE40"/>
          </p15:clr>
        </p15:guide>
        <p15:guide id="2" orient="horz" pos="3991"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1019"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Why Choose Us with Imag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419" y="371728"/>
            <a:ext cx="10518338" cy="886732"/>
          </a:xfrm>
          <a:prstGeom prst="rect">
            <a:avLst/>
          </a:prstGeom>
        </p:spPr>
        <p:txBody>
          <a:bodyPr anchor="ctr"/>
          <a:lstStyle>
            <a:lvl1pPr algn="ctr">
              <a:defRPr sz="3594" b="0" i="0">
                <a:solidFill>
                  <a:schemeClr val="tx1"/>
                </a:solidFill>
                <a:latin typeface="72" panose="020B0503030000000003" pitchFamily="34" charset="0"/>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397" y="1051062"/>
            <a:ext cx="9146381" cy="436562"/>
          </a:xfrm>
          <a:prstGeom prst="rect">
            <a:avLst/>
          </a:prstGeom>
        </p:spPr>
        <p:txBody>
          <a:bodyPr>
            <a:normAutofit/>
          </a:bodyPr>
          <a:lstStyle>
            <a:lvl1pPr marL="0" indent="0" algn="ctr">
              <a:buNone/>
              <a:defRPr sz="1794" b="0" i="0">
                <a:solidFill>
                  <a:schemeClr val="tx1"/>
                </a:solidFill>
                <a:latin typeface="72" panose="020B0503030000000003" pitchFamily="34" charset="0"/>
              </a:defRPr>
            </a:lvl1pPr>
            <a:lvl2pPr marL="456378" indent="0" algn="ctr">
              <a:buNone/>
              <a:defRPr sz="1994"/>
            </a:lvl2pPr>
            <a:lvl3pPr marL="912756" indent="0" algn="ctr">
              <a:buNone/>
              <a:defRPr sz="1794"/>
            </a:lvl3pPr>
            <a:lvl4pPr marL="1369134" indent="0" algn="ctr">
              <a:buNone/>
              <a:defRPr sz="1600"/>
            </a:lvl4pPr>
            <a:lvl5pPr marL="1825511" indent="0" algn="ctr">
              <a:buNone/>
              <a:defRPr sz="1600"/>
            </a:lvl5pPr>
            <a:lvl6pPr marL="2281888" indent="0" algn="ctr">
              <a:buNone/>
              <a:defRPr sz="1600"/>
            </a:lvl6pPr>
            <a:lvl7pPr marL="2738266" indent="0" algn="ctr">
              <a:buNone/>
              <a:defRPr sz="1600"/>
            </a:lvl7pPr>
            <a:lvl8pPr marL="3194643" indent="0" algn="ctr">
              <a:buNone/>
              <a:defRPr sz="1600"/>
            </a:lvl8pPr>
            <a:lvl9pPr marL="3651021" indent="0" algn="ctr">
              <a:buNone/>
              <a:defRPr sz="1600"/>
            </a:lvl9pPr>
          </a:lstStyle>
          <a:p>
            <a:r>
              <a:rPr lang="en-US"/>
              <a:t>Insert your awesome subtitle here</a:t>
            </a:r>
            <a:endParaRPr lang="en-MY"/>
          </a:p>
        </p:txBody>
      </p:sp>
      <p:sp>
        <p:nvSpPr>
          <p:cNvPr id="26" name="Picture Placeholder 5">
            <a:extLst>
              <a:ext uri="{FF2B5EF4-FFF2-40B4-BE49-F238E27FC236}">
                <a16:creationId xmlns:a16="http://schemas.microsoft.com/office/drawing/2014/main" id="{9A652012-F096-4D5A-B8A3-3313AF79876C}"/>
              </a:ext>
            </a:extLst>
          </p:cNvPr>
          <p:cNvSpPr>
            <a:spLocks noGrp="1"/>
          </p:cNvSpPr>
          <p:nvPr>
            <p:ph type="pic" sz="quarter" idx="14" hasCustomPrompt="1"/>
          </p:nvPr>
        </p:nvSpPr>
        <p:spPr>
          <a:xfrm>
            <a:off x="488704" y="1742517"/>
            <a:ext cx="2698508" cy="2231968"/>
          </a:xfrm>
          <a:prstGeom prst="roundRect">
            <a:avLst>
              <a:gd name="adj" fmla="val 2892"/>
            </a:avLst>
          </a:prstGeom>
          <a:pattFill prst="wdDnDiag">
            <a:fgClr>
              <a:schemeClr val="tx1">
                <a:lumMod val="25000"/>
                <a:lumOff val="75000"/>
              </a:schemeClr>
            </a:fgClr>
            <a:bgClr>
              <a:schemeClr val="bg1"/>
            </a:bgClr>
          </a:pattFill>
        </p:spPr>
        <p:txBody>
          <a:bodyPr anchor="ctr"/>
          <a:lstStyle>
            <a:lvl1pPr marL="0" indent="0" algn="ctr">
              <a:buNone/>
              <a:defRPr sz="1994" b="0" i="0">
                <a:latin typeface="72" panose="020B0503030000000003" pitchFamily="34" charset="0"/>
              </a:defRPr>
            </a:lvl1pPr>
          </a:lstStyle>
          <a:p>
            <a:r>
              <a:rPr lang="en-MY"/>
              <a:t>Insert your image here</a:t>
            </a:r>
          </a:p>
        </p:txBody>
      </p:sp>
      <p:sp>
        <p:nvSpPr>
          <p:cNvPr id="27" name="Picture Placeholder 5">
            <a:extLst>
              <a:ext uri="{FF2B5EF4-FFF2-40B4-BE49-F238E27FC236}">
                <a16:creationId xmlns:a16="http://schemas.microsoft.com/office/drawing/2014/main" id="{EF055F06-F2F2-41E1-90AF-6A9CA00C1765}"/>
              </a:ext>
            </a:extLst>
          </p:cNvPr>
          <p:cNvSpPr>
            <a:spLocks noGrp="1"/>
          </p:cNvSpPr>
          <p:nvPr>
            <p:ph type="pic" sz="quarter" idx="15" hasCustomPrompt="1"/>
          </p:nvPr>
        </p:nvSpPr>
        <p:spPr>
          <a:xfrm>
            <a:off x="3327893" y="1742517"/>
            <a:ext cx="2698508" cy="2231968"/>
          </a:xfrm>
          <a:prstGeom prst="roundRect">
            <a:avLst>
              <a:gd name="adj" fmla="val 2892"/>
            </a:avLst>
          </a:prstGeom>
          <a:pattFill prst="wdDnDiag">
            <a:fgClr>
              <a:schemeClr val="tx1">
                <a:lumMod val="25000"/>
                <a:lumOff val="75000"/>
              </a:schemeClr>
            </a:fgClr>
            <a:bgClr>
              <a:schemeClr val="bg1"/>
            </a:bgClr>
          </a:pattFill>
        </p:spPr>
        <p:txBody>
          <a:bodyPr anchor="ctr"/>
          <a:lstStyle>
            <a:lvl1pPr marL="0" indent="0" algn="ctr">
              <a:buNone/>
              <a:defRPr sz="1994" b="0" i="0">
                <a:latin typeface="72" panose="020B0503030000000003" pitchFamily="34" charset="0"/>
              </a:defRPr>
            </a:lvl1pPr>
          </a:lstStyle>
          <a:p>
            <a:r>
              <a:rPr lang="en-MY"/>
              <a:t>Insert your image here</a:t>
            </a:r>
          </a:p>
        </p:txBody>
      </p:sp>
      <p:sp>
        <p:nvSpPr>
          <p:cNvPr id="28" name="Picture Placeholder 5">
            <a:extLst>
              <a:ext uri="{FF2B5EF4-FFF2-40B4-BE49-F238E27FC236}">
                <a16:creationId xmlns:a16="http://schemas.microsoft.com/office/drawing/2014/main" id="{358D2AF6-E244-4B76-B419-2355E0B4D3B3}"/>
              </a:ext>
            </a:extLst>
          </p:cNvPr>
          <p:cNvSpPr>
            <a:spLocks noGrp="1"/>
          </p:cNvSpPr>
          <p:nvPr>
            <p:ph type="pic" sz="quarter" idx="16" hasCustomPrompt="1"/>
          </p:nvPr>
        </p:nvSpPr>
        <p:spPr>
          <a:xfrm>
            <a:off x="6167082" y="1742517"/>
            <a:ext cx="2698508" cy="2231968"/>
          </a:xfrm>
          <a:prstGeom prst="roundRect">
            <a:avLst>
              <a:gd name="adj" fmla="val 2892"/>
            </a:avLst>
          </a:prstGeom>
          <a:pattFill prst="wdDnDiag">
            <a:fgClr>
              <a:schemeClr val="tx1">
                <a:lumMod val="25000"/>
                <a:lumOff val="75000"/>
              </a:schemeClr>
            </a:fgClr>
            <a:bgClr>
              <a:schemeClr val="bg1"/>
            </a:bgClr>
          </a:pattFill>
        </p:spPr>
        <p:txBody>
          <a:bodyPr anchor="ctr"/>
          <a:lstStyle>
            <a:lvl1pPr marL="0" indent="0" algn="ctr">
              <a:buNone/>
              <a:defRPr sz="1994" b="0" i="0">
                <a:latin typeface="72" panose="020B0503030000000003" pitchFamily="34" charset="0"/>
              </a:defRPr>
            </a:lvl1pPr>
          </a:lstStyle>
          <a:p>
            <a:r>
              <a:rPr lang="en-MY"/>
              <a:t>Insert your image here</a:t>
            </a:r>
          </a:p>
        </p:txBody>
      </p:sp>
      <p:sp>
        <p:nvSpPr>
          <p:cNvPr id="29" name="Picture Placeholder 5">
            <a:extLst>
              <a:ext uri="{FF2B5EF4-FFF2-40B4-BE49-F238E27FC236}">
                <a16:creationId xmlns:a16="http://schemas.microsoft.com/office/drawing/2014/main" id="{4F4E1D8E-047F-4AFC-93A8-7C30AE6184C1}"/>
              </a:ext>
            </a:extLst>
          </p:cNvPr>
          <p:cNvSpPr>
            <a:spLocks noGrp="1"/>
          </p:cNvSpPr>
          <p:nvPr>
            <p:ph type="pic" sz="quarter" idx="17" hasCustomPrompt="1"/>
          </p:nvPr>
        </p:nvSpPr>
        <p:spPr>
          <a:xfrm>
            <a:off x="9006265" y="1742517"/>
            <a:ext cx="2698508" cy="2231968"/>
          </a:xfrm>
          <a:prstGeom prst="roundRect">
            <a:avLst>
              <a:gd name="adj" fmla="val 2892"/>
            </a:avLst>
          </a:prstGeom>
          <a:pattFill prst="wdDnDiag">
            <a:fgClr>
              <a:schemeClr val="tx1">
                <a:lumMod val="25000"/>
                <a:lumOff val="75000"/>
              </a:schemeClr>
            </a:fgClr>
            <a:bgClr>
              <a:schemeClr val="bg1"/>
            </a:bgClr>
          </a:pattFill>
        </p:spPr>
        <p:txBody>
          <a:bodyPr anchor="ctr"/>
          <a:lstStyle>
            <a:lvl1pPr marL="0" indent="0" algn="ctr">
              <a:buNone/>
              <a:defRPr sz="1994" b="0" i="0">
                <a:latin typeface="72" panose="020B0503030000000003" pitchFamily="34" charset="0"/>
              </a:defRPr>
            </a:lvl1pPr>
          </a:lstStyle>
          <a:p>
            <a:r>
              <a:rPr lang="en-MY"/>
              <a:t>Insert your image here</a:t>
            </a:r>
          </a:p>
        </p:txBody>
      </p:sp>
      <p:sp>
        <p:nvSpPr>
          <p:cNvPr id="2" name="Slide Number Placeholder 1">
            <a:extLst>
              <a:ext uri="{FF2B5EF4-FFF2-40B4-BE49-F238E27FC236}">
                <a16:creationId xmlns:a16="http://schemas.microsoft.com/office/drawing/2014/main" id="{A9A70A9F-E12E-CA5B-5318-7C7D6671F7E2}"/>
              </a:ext>
            </a:extLst>
          </p:cNvPr>
          <p:cNvSpPr>
            <a:spLocks noGrp="1"/>
          </p:cNvSpPr>
          <p:nvPr>
            <p:ph type="sldNum" sz="quarter" idx="18"/>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212410223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estimonial Two Images">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419" y="371728"/>
            <a:ext cx="10518338" cy="886732"/>
          </a:xfrm>
          <a:prstGeom prst="rect">
            <a:avLst/>
          </a:prstGeom>
        </p:spPr>
        <p:txBody>
          <a:bodyPr anchor="ctr"/>
          <a:lstStyle>
            <a:lvl1pPr algn="ctr">
              <a:defRPr sz="3594" b="0" i="0">
                <a:solidFill>
                  <a:schemeClr val="tx1"/>
                </a:solidFill>
                <a:latin typeface="72" panose="020B0503030000000003" pitchFamily="34" charset="0"/>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397" y="1051062"/>
            <a:ext cx="9146381" cy="436562"/>
          </a:xfrm>
          <a:prstGeom prst="rect">
            <a:avLst/>
          </a:prstGeom>
        </p:spPr>
        <p:txBody>
          <a:bodyPr>
            <a:normAutofit/>
          </a:bodyPr>
          <a:lstStyle>
            <a:lvl1pPr marL="0" indent="0" algn="ctr">
              <a:buNone/>
              <a:defRPr sz="1794" b="0" i="0">
                <a:solidFill>
                  <a:schemeClr val="tx1"/>
                </a:solidFill>
                <a:latin typeface="72" panose="020B0503030000000003" pitchFamily="34" charset="0"/>
              </a:defRPr>
            </a:lvl1pPr>
            <a:lvl2pPr marL="456378" indent="0" algn="ctr">
              <a:buNone/>
              <a:defRPr sz="1994"/>
            </a:lvl2pPr>
            <a:lvl3pPr marL="912756" indent="0" algn="ctr">
              <a:buNone/>
              <a:defRPr sz="1794"/>
            </a:lvl3pPr>
            <a:lvl4pPr marL="1369134" indent="0" algn="ctr">
              <a:buNone/>
              <a:defRPr sz="1600"/>
            </a:lvl4pPr>
            <a:lvl5pPr marL="1825511" indent="0" algn="ctr">
              <a:buNone/>
              <a:defRPr sz="1600"/>
            </a:lvl5pPr>
            <a:lvl6pPr marL="2281888" indent="0" algn="ctr">
              <a:buNone/>
              <a:defRPr sz="1600"/>
            </a:lvl6pPr>
            <a:lvl7pPr marL="2738266" indent="0" algn="ctr">
              <a:buNone/>
              <a:defRPr sz="1600"/>
            </a:lvl7pPr>
            <a:lvl8pPr marL="3194643" indent="0" algn="ctr">
              <a:buNone/>
              <a:defRPr sz="1600"/>
            </a:lvl8pPr>
            <a:lvl9pPr marL="3651021" indent="0" algn="ctr">
              <a:buNone/>
              <a:defRPr sz="1600"/>
            </a:lvl9pPr>
          </a:lstStyle>
          <a:p>
            <a:r>
              <a:rPr lang="en-US"/>
              <a:t>Insert your awesome subtitle here</a:t>
            </a:r>
            <a:endParaRPr lang="en-MY"/>
          </a:p>
        </p:txBody>
      </p:sp>
      <p:sp>
        <p:nvSpPr>
          <p:cNvPr id="4" name="Picture Placeholder 3">
            <a:extLst>
              <a:ext uri="{FF2B5EF4-FFF2-40B4-BE49-F238E27FC236}">
                <a16:creationId xmlns:a16="http://schemas.microsoft.com/office/drawing/2014/main" id="{5C46BA68-DD05-426A-8051-25634BA47797}"/>
              </a:ext>
            </a:extLst>
          </p:cNvPr>
          <p:cNvSpPr>
            <a:spLocks noGrp="1"/>
          </p:cNvSpPr>
          <p:nvPr>
            <p:ph type="pic" sz="quarter" idx="10" hasCustomPrompt="1"/>
          </p:nvPr>
        </p:nvSpPr>
        <p:spPr>
          <a:xfrm>
            <a:off x="1055740" y="2004695"/>
            <a:ext cx="1838441" cy="1837962"/>
          </a:xfrm>
          <a:prstGeom prst="roundRect">
            <a:avLst>
              <a:gd name="adj" fmla="val 10892"/>
            </a:avLst>
          </a:prstGeom>
          <a:pattFill prst="wdDnDiag">
            <a:fgClr>
              <a:schemeClr val="tx1">
                <a:lumMod val="25000"/>
                <a:lumOff val="75000"/>
              </a:schemeClr>
            </a:fgClr>
            <a:bgClr>
              <a:schemeClr val="bg1"/>
            </a:bgClr>
          </a:pattFill>
        </p:spPr>
        <p:txBody>
          <a:bodyPr anchor="ctr"/>
          <a:lstStyle>
            <a:lvl1pPr marL="0" indent="0" algn="ctr">
              <a:buNone/>
              <a:defRPr sz="2394" b="0" i="0">
                <a:latin typeface="72" panose="020B0503030000000003" pitchFamily="34" charset="0"/>
              </a:defRPr>
            </a:lvl1pPr>
          </a:lstStyle>
          <a:p>
            <a:r>
              <a:rPr lang="en-MY"/>
              <a:t>Insert your image here</a:t>
            </a:r>
          </a:p>
        </p:txBody>
      </p:sp>
      <p:sp>
        <p:nvSpPr>
          <p:cNvPr id="7" name="Picture Placeholder 3">
            <a:extLst>
              <a:ext uri="{FF2B5EF4-FFF2-40B4-BE49-F238E27FC236}">
                <a16:creationId xmlns:a16="http://schemas.microsoft.com/office/drawing/2014/main" id="{B663A32B-8793-4B63-B451-EAC90F599903}"/>
              </a:ext>
            </a:extLst>
          </p:cNvPr>
          <p:cNvSpPr>
            <a:spLocks noGrp="1"/>
          </p:cNvSpPr>
          <p:nvPr>
            <p:ph type="pic" sz="quarter" idx="11" hasCustomPrompt="1"/>
          </p:nvPr>
        </p:nvSpPr>
        <p:spPr>
          <a:xfrm>
            <a:off x="9265700" y="4170952"/>
            <a:ext cx="1838441" cy="1837962"/>
          </a:xfrm>
          <a:prstGeom prst="roundRect">
            <a:avLst>
              <a:gd name="adj" fmla="val 10892"/>
            </a:avLst>
          </a:prstGeom>
          <a:pattFill prst="wdDnDiag">
            <a:fgClr>
              <a:schemeClr val="tx1">
                <a:lumMod val="25000"/>
                <a:lumOff val="75000"/>
              </a:schemeClr>
            </a:fgClr>
            <a:bgClr>
              <a:schemeClr val="bg1"/>
            </a:bgClr>
          </a:pattFill>
        </p:spPr>
        <p:txBody>
          <a:bodyPr anchor="ctr"/>
          <a:lstStyle>
            <a:lvl1pPr marL="0" indent="0" algn="ctr">
              <a:buNone/>
              <a:defRPr sz="2394" b="0" i="0">
                <a:latin typeface="72" panose="020B0503030000000003" pitchFamily="34" charset="0"/>
              </a:defRPr>
            </a:lvl1pPr>
          </a:lstStyle>
          <a:p>
            <a:r>
              <a:rPr lang="en-MY"/>
              <a:t>Insert your image here</a:t>
            </a:r>
          </a:p>
        </p:txBody>
      </p:sp>
      <p:sp>
        <p:nvSpPr>
          <p:cNvPr id="2" name="Slide Number Placeholder 1">
            <a:extLst>
              <a:ext uri="{FF2B5EF4-FFF2-40B4-BE49-F238E27FC236}">
                <a16:creationId xmlns:a16="http://schemas.microsoft.com/office/drawing/2014/main" id="{61F1D8CF-649A-834E-590D-F6D96F436E65}"/>
              </a:ext>
            </a:extLst>
          </p:cNvPr>
          <p:cNvSpPr>
            <a:spLocks noGrp="1"/>
          </p:cNvSpPr>
          <p:nvPr>
            <p:ph type="sldNum" sz="quarter" idx="12"/>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35538444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estimonial Three Images 2">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329ABD5F-9305-42B4-911F-98ABC6BEC12C}"/>
              </a:ext>
            </a:extLst>
          </p:cNvPr>
          <p:cNvSpPr>
            <a:spLocks noGrp="1"/>
          </p:cNvSpPr>
          <p:nvPr>
            <p:ph type="pic" sz="quarter" idx="11" hasCustomPrompt="1"/>
          </p:nvPr>
        </p:nvSpPr>
        <p:spPr>
          <a:xfrm>
            <a:off x="4827542" y="4412609"/>
            <a:ext cx="603661" cy="603504"/>
          </a:xfrm>
          <a:prstGeom prst="ellipse">
            <a:avLst/>
          </a:prstGeom>
          <a:pattFill prst="wdDnDiag">
            <a:fgClr>
              <a:schemeClr val="tx1">
                <a:lumMod val="25000"/>
                <a:lumOff val="75000"/>
              </a:schemeClr>
            </a:fgClr>
            <a:bgClr>
              <a:schemeClr val="bg1"/>
            </a:bgClr>
          </a:pattFill>
        </p:spPr>
        <p:txBody>
          <a:bodyPr anchor="ctr"/>
          <a:lstStyle>
            <a:lvl1pPr marL="0" indent="0" algn="ctr">
              <a:buNone/>
              <a:defRPr sz="700" b="0" i="0">
                <a:solidFill>
                  <a:schemeClr val="tx1"/>
                </a:solidFill>
                <a:latin typeface="72" panose="020B0503030000000003" pitchFamily="34" charset="0"/>
              </a:defRPr>
            </a:lvl1pPr>
          </a:lstStyle>
          <a:p>
            <a:r>
              <a:rPr lang="en-MY"/>
              <a:t>image</a:t>
            </a:r>
          </a:p>
        </p:txBody>
      </p:sp>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419" y="371728"/>
            <a:ext cx="10518338" cy="886732"/>
          </a:xfrm>
          <a:prstGeom prst="rect">
            <a:avLst/>
          </a:prstGeom>
        </p:spPr>
        <p:txBody>
          <a:bodyPr anchor="ctr"/>
          <a:lstStyle>
            <a:lvl1pPr algn="ctr">
              <a:defRPr sz="3594" b="0" i="0">
                <a:solidFill>
                  <a:schemeClr val="tx1"/>
                </a:solidFill>
                <a:latin typeface="72" panose="020B0503030000000003" pitchFamily="34" charset="0"/>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397" y="1051062"/>
            <a:ext cx="9146381" cy="436562"/>
          </a:xfrm>
          <a:prstGeom prst="rect">
            <a:avLst/>
          </a:prstGeom>
        </p:spPr>
        <p:txBody>
          <a:bodyPr>
            <a:normAutofit/>
          </a:bodyPr>
          <a:lstStyle>
            <a:lvl1pPr marL="0" indent="0" algn="ctr">
              <a:buNone/>
              <a:defRPr sz="1794" b="0" i="0">
                <a:solidFill>
                  <a:schemeClr val="tx1"/>
                </a:solidFill>
                <a:latin typeface="72" panose="020B0503030000000003" pitchFamily="34" charset="0"/>
              </a:defRPr>
            </a:lvl1pPr>
            <a:lvl2pPr marL="456378" indent="0" algn="ctr">
              <a:buNone/>
              <a:defRPr sz="1994"/>
            </a:lvl2pPr>
            <a:lvl3pPr marL="912756" indent="0" algn="ctr">
              <a:buNone/>
              <a:defRPr sz="1794"/>
            </a:lvl3pPr>
            <a:lvl4pPr marL="1369134" indent="0" algn="ctr">
              <a:buNone/>
              <a:defRPr sz="1600"/>
            </a:lvl4pPr>
            <a:lvl5pPr marL="1825511" indent="0" algn="ctr">
              <a:buNone/>
              <a:defRPr sz="1600"/>
            </a:lvl5pPr>
            <a:lvl6pPr marL="2281888" indent="0" algn="ctr">
              <a:buNone/>
              <a:defRPr sz="1600"/>
            </a:lvl6pPr>
            <a:lvl7pPr marL="2738266" indent="0" algn="ctr">
              <a:buNone/>
              <a:defRPr sz="1600"/>
            </a:lvl7pPr>
            <a:lvl8pPr marL="3194643" indent="0" algn="ctr">
              <a:buNone/>
              <a:defRPr sz="1600"/>
            </a:lvl8pPr>
            <a:lvl9pPr marL="3651021" indent="0" algn="ctr">
              <a:buNone/>
              <a:defRPr sz="1600"/>
            </a:lvl9pPr>
          </a:lstStyle>
          <a:p>
            <a:r>
              <a:rPr lang="en-US"/>
              <a:t>Insert your awesome subtitle here</a:t>
            </a:r>
            <a:endParaRPr lang="en-MY"/>
          </a:p>
        </p:txBody>
      </p:sp>
      <p:sp>
        <p:nvSpPr>
          <p:cNvPr id="4" name="Picture Placeholder 3">
            <a:extLst>
              <a:ext uri="{FF2B5EF4-FFF2-40B4-BE49-F238E27FC236}">
                <a16:creationId xmlns:a16="http://schemas.microsoft.com/office/drawing/2014/main" id="{5C46BA68-DD05-426A-8051-25634BA47797}"/>
              </a:ext>
            </a:extLst>
          </p:cNvPr>
          <p:cNvSpPr>
            <a:spLocks noGrp="1"/>
          </p:cNvSpPr>
          <p:nvPr>
            <p:ph type="pic" sz="quarter" idx="10" hasCustomPrompt="1"/>
          </p:nvPr>
        </p:nvSpPr>
        <p:spPr>
          <a:xfrm>
            <a:off x="1388164" y="4412609"/>
            <a:ext cx="603661" cy="603504"/>
          </a:xfrm>
          <a:prstGeom prst="ellipse">
            <a:avLst/>
          </a:prstGeom>
          <a:pattFill prst="wdDnDiag">
            <a:fgClr>
              <a:schemeClr val="tx1">
                <a:lumMod val="25000"/>
                <a:lumOff val="75000"/>
              </a:schemeClr>
            </a:fgClr>
            <a:bgClr>
              <a:schemeClr val="bg1"/>
            </a:bgClr>
          </a:pattFill>
        </p:spPr>
        <p:txBody>
          <a:bodyPr anchor="ctr"/>
          <a:lstStyle>
            <a:lvl1pPr marL="0" indent="0" algn="ctr">
              <a:buNone/>
              <a:defRPr sz="700" b="0" i="0">
                <a:solidFill>
                  <a:schemeClr val="tx1"/>
                </a:solidFill>
                <a:latin typeface="72" panose="020B0503030000000003" pitchFamily="34" charset="0"/>
              </a:defRPr>
            </a:lvl1pPr>
          </a:lstStyle>
          <a:p>
            <a:r>
              <a:rPr lang="en-MY"/>
              <a:t>image</a:t>
            </a:r>
          </a:p>
        </p:txBody>
      </p:sp>
      <p:sp>
        <p:nvSpPr>
          <p:cNvPr id="14" name="Picture Placeholder 3">
            <a:extLst>
              <a:ext uri="{FF2B5EF4-FFF2-40B4-BE49-F238E27FC236}">
                <a16:creationId xmlns:a16="http://schemas.microsoft.com/office/drawing/2014/main" id="{96191CDE-AA41-4ECB-A33C-F5C85D5278D8}"/>
              </a:ext>
            </a:extLst>
          </p:cNvPr>
          <p:cNvSpPr>
            <a:spLocks noGrp="1"/>
          </p:cNvSpPr>
          <p:nvPr>
            <p:ph type="pic" sz="quarter" idx="12" hasCustomPrompt="1"/>
          </p:nvPr>
        </p:nvSpPr>
        <p:spPr>
          <a:xfrm>
            <a:off x="8266404" y="4412609"/>
            <a:ext cx="603661" cy="603504"/>
          </a:xfrm>
          <a:prstGeom prst="ellipse">
            <a:avLst/>
          </a:prstGeom>
          <a:pattFill prst="wdDnDiag">
            <a:fgClr>
              <a:schemeClr val="tx1">
                <a:lumMod val="25000"/>
                <a:lumOff val="75000"/>
              </a:schemeClr>
            </a:fgClr>
            <a:bgClr>
              <a:schemeClr val="bg1"/>
            </a:bgClr>
          </a:pattFill>
        </p:spPr>
        <p:txBody>
          <a:bodyPr anchor="ctr"/>
          <a:lstStyle>
            <a:lvl1pPr marL="0" indent="0" algn="ctr">
              <a:buNone/>
              <a:defRPr sz="700" b="0" i="0">
                <a:solidFill>
                  <a:schemeClr val="tx1"/>
                </a:solidFill>
                <a:latin typeface="72" panose="020B0503030000000003" pitchFamily="34" charset="0"/>
              </a:defRPr>
            </a:lvl1pPr>
          </a:lstStyle>
          <a:p>
            <a:r>
              <a:rPr lang="en-MY"/>
              <a:t>image</a:t>
            </a:r>
          </a:p>
        </p:txBody>
      </p:sp>
      <p:sp>
        <p:nvSpPr>
          <p:cNvPr id="2" name="Slide Number Placeholder 1">
            <a:extLst>
              <a:ext uri="{FF2B5EF4-FFF2-40B4-BE49-F238E27FC236}">
                <a16:creationId xmlns:a16="http://schemas.microsoft.com/office/drawing/2014/main" id="{6E1B0C7E-8C26-2125-F3E7-15EC09BCE83D}"/>
              </a:ext>
            </a:extLst>
          </p:cNvPr>
          <p:cNvSpPr>
            <a:spLocks noGrp="1"/>
          </p:cNvSpPr>
          <p:nvPr>
            <p:ph type="sldNum" sz="quarter" idx="13"/>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310343586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Image Slideshow with Text 6-1">
    <p:spTree>
      <p:nvGrpSpPr>
        <p:cNvPr id="1" name=""/>
        <p:cNvGrpSpPr/>
        <p:nvPr/>
      </p:nvGrpSpPr>
      <p:grpSpPr>
        <a:xfrm>
          <a:off x="0" y="0"/>
          <a:ext cx="0" cy="0"/>
          <a:chOff x="0" y="0"/>
          <a:chExt cx="0" cy="0"/>
        </a:xfrm>
      </p:grpSpPr>
      <p:sp>
        <p:nvSpPr>
          <p:cNvPr id="13" name="Picture Placeholder 4">
            <a:extLst>
              <a:ext uri="{FF2B5EF4-FFF2-40B4-BE49-F238E27FC236}">
                <a16:creationId xmlns:a16="http://schemas.microsoft.com/office/drawing/2014/main" id="{18330A84-2390-4B88-B6C7-FCD557ADE34B}"/>
              </a:ext>
            </a:extLst>
          </p:cNvPr>
          <p:cNvSpPr>
            <a:spLocks noGrp="1"/>
          </p:cNvSpPr>
          <p:nvPr>
            <p:ph type="pic" sz="quarter" idx="14" hasCustomPrompt="1"/>
          </p:nvPr>
        </p:nvSpPr>
        <p:spPr>
          <a:xfrm>
            <a:off x="0" y="0"/>
            <a:ext cx="6097588" cy="6858000"/>
          </a:xfrm>
          <a:prstGeom prst="rect">
            <a:avLst/>
          </a:prstGeom>
          <a:pattFill prst="wdDnDiag">
            <a:fgClr>
              <a:schemeClr val="tx1">
                <a:lumMod val="25000"/>
                <a:lumOff val="75000"/>
              </a:schemeClr>
            </a:fgClr>
            <a:bgClr>
              <a:schemeClr val="bg1"/>
            </a:bgClr>
          </a:pattFill>
        </p:spPr>
        <p:txBody>
          <a:bodyPr anchor="ctr"/>
          <a:lstStyle>
            <a:lvl1pPr algn="ctr">
              <a:buNone/>
              <a:defRPr b="0" i="0">
                <a:latin typeface="72" panose="020B0503030000000003" pitchFamily="34" charset="0"/>
              </a:defRPr>
            </a:lvl1pPr>
          </a:lstStyle>
          <a:p>
            <a:r>
              <a:rPr lang="en-US"/>
              <a:t>Insert your image here</a:t>
            </a:r>
          </a:p>
        </p:txBody>
      </p:sp>
      <p:sp>
        <p:nvSpPr>
          <p:cNvPr id="2" name="Slide Number Placeholder 1">
            <a:extLst>
              <a:ext uri="{FF2B5EF4-FFF2-40B4-BE49-F238E27FC236}">
                <a16:creationId xmlns:a16="http://schemas.microsoft.com/office/drawing/2014/main" id="{50A101D8-AF98-B1EF-8C66-D7E2B01A2945}"/>
              </a:ext>
            </a:extLst>
          </p:cNvPr>
          <p:cNvSpPr>
            <a:spLocks noGrp="1"/>
          </p:cNvSpPr>
          <p:nvPr>
            <p:ph type="sldNum" sz="quarter" idx="15"/>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97710604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Horizontal Timelin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419" y="371728"/>
            <a:ext cx="10518338" cy="886732"/>
          </a:xfrm>
          <a:prstGeom prst="rect">
            <a:avLst/>
          </a:prstGeom>
        </p:spPr>
        <p:txBody>
          <a:bodyPr anchor="ctr"/>
          <a:lstStyle>
            <a:lvl1pPr algn="ctr">
              <a:defRPr sz="3594" b="0" i="0">
                <a:solidFill>
                  <a:schemeClr val="tx1"/>
                </a:solidFill>
                <a:latin typeface="72" panose="020B0503030000000003" pitchFamily="34" charset="0"/>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397" y="1051062"/>
            <a:ext cx="9146381" cy="436562"/>
          </a:xfrm>
          <a:prstGeom prst="rect">
            <a:avLst/>
          </a:prstGeom>
        </p:spPr>
        <p:txBody>
          <a:bodyPr>
            <a:normAutofit/>
          </a:bodyPr>
          <a:lstStyle>
            <a:lvl1pPr marL="0" indent="0" algn="ctr">
              <a:buNone/>
              <a:defRPr sz="1794" b="0" i="0">
                <a:solidFill>
                  <a:schemeClr val="tx1"/>
                </a:solidFill>
                <a:latin typeface="72" panose="020B0503030000000003" pitchFamily="34" charset="0"/>
              </a:defRPr>
            </a:lvl1pPr>
            <a:lvl2pPr marL="456378" indent="0" algn="ctr">
              <a:buNone/>
              <a:defRPr sz="1994"/>
            </a:lvl2pPr>
            <a:lvl3pPr marL="912756" indent="0" algn="ctr">
              <a:buNone/>
              <a:defRPr sz="1794"/>
            </a:lvl3pPr>
            <a:lvl4pPr marL="1369134" indent="0" algn="ctr">
              <a:buNone/>
              <a:defRPr sz="1600"/>
            </a:lvl4pPr>
            <a:lvl5pPr marL="1825511" indent="0" algn="ctr">
              <a:buNone/>
              <a:defRPr sz="1600"/>
            </a:lvl5pPr>
            <a:lvl6pPr marL="2281888" indent="0" algn="ctr">
              <a:buNone/>
              <a:defRPr sz="1600"/>
            </a:lvl6pPr>
            <a:lvl7pPr marL="2738266" indent="0" algn="ctr">
              <a:buNone/>
              <a:defRPr sz="1600"/>
            </a:lvl7pPr>
            <a:lvl8pPr marL="3194643" indent="0" algn="ctr">
              <a:buNone/>
              <a:defRPr sz="1600"/>
            </a:lvl8pPr>
            <a:lvl9pPr marL="3651021" indent="0" algn="ctr">
              <a:buNone/>
              <a:defRPr sz="1600"/>
            </a:lvl9pPr>
          </a:lstStyle>
          <a:p>
            <a:r>
              <a:rPr lang="en-US"/>
              <a:t>Insert your awesome subtitle here</a:t>
            </a:r>
            <a:endParaRPr lang="en-MY"/>
          </a:p>
        </p:txBody>
      </p:sp>
      <p:sp>
        <p:nvSpPr>
          <p:cNvPr id="2" name="Slide Number Placeholder 1">
            <a:extLst>
              <a:ext uri="{FF2B5EF4-FFF2-40B4-BE49-F238E27FC236}">
                <a16:creationId xmlns:a16="http://schemas.microsoft.com/office/drawing/2014/main" id="{E2D3346E-2E0F-6AD2-D35A-DC760CC5E112}"/>
              </a:ext>
            </a:extLst>
          </p:cNvPr>
          <p:cNvSpPr>
            <a:spLocks noGrp="1"/>
          </p:cNvSpPr>
          <p:nvPr>
            <p:ph type="sldNum" sz="quarter" idx="10"/>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384621136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ext with Right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FB51009-964A-4B73-BA49-5F305CC09299}"/>
              </a:ext>
            </a:extLst>
          </p:cNvPr>
          <p:cNvSpPr>
            <a:spLocks noGrp="1"/>
          </p:cNvSpPr>
          <p:nvPr>
            <p:ph type="pic" sz="quarter" idx="10" hasCustomPrompt="1"/>
          </p:nvPr>
        </p:nvSpPr>
        <p:spPr>
          <a:xfrm>
            <a:off x="6097587" y="0"/>
            <a:ext cx="6097588" cy="6858000"/>
          </a:xfrm>
          <a:prstGeom prst="rect">
            <a:avLst/>
          </a:prstGeom>
          <a:pattFill prst="wdDnDiag">
            <a:fgClr>
              <a:schemeClr val="tx1">
                <a:lumMod val="25000"/>
                <a:lumOff val="75000"/>
              </a:schemeClr>
            </a:fgClr>
            <a:bgClr>
              <a:schemeClr val="bg1"/>
            </a:bgClr>
          </a:pattFill>
        </p:spPr>
        <p:txBody>
          <a:bodyPr anchor="ctr"/>
          <a:lstStyle>
            <a:lvl1pPr marL="0" marR="0" indent="0" algn="ctr" defTabSz="912756" rtl="0" eaLnBrk="1" fontAlgn="auto" latinLnBrk="0" hangingPunct="1">
              <a:lnSpc>
                <a:spcPct val="90000"/>
              </a:lnSpc>
              <a:spcBef>
                <a:spcPts val="1000"/>
              </a:spcBef>
              <a:spcAft>
                <a:spcPts val="0"/>
              </a:spcAft>
              <a:buClrTx/>
              <a:buSzTx/>
              <a:buFont typeface="Arial" panose="020B0604020202020204" pitchFamily="34" charset="0"/>
              <a:buNone/>
              <a:tabLst/>
              <a:defRPr b="0" i="0">
                <a:solidFill>
                  <a:schemeClr val="tx1"/>
                </a:solidFill>
                <a:latin typeface="72" panose="020B0503030000000003" pitchFamily="34" charset="0"/>
              </a:defRPr>
            </a:lvl1pPr>
          </a:lstStyle>
          <a:p>
            <a:pPr marL="0" marR="0" lvl="0" indent="0" algn="l" defTabSz="912756" rtl="0" eaLnBrk="1" fontAlgn="auto" latinLnBrk="0" hangingPunct="1">
              <a:lnSpc>
                <a:spcPct val="90000"/>
              </a:lnSpc>
              <a:spcBef>
                <a:spcPts val="1000"/>
              </a:spcBef>
              <a:spcAft>
                <a:spcPts val="0"/>
              </a:spcAft>
              <a:buClrTx/>
              <a:buSzTx/>
              <a:buFont typeface="Arial" panose="020B0604020202020204" pitchFamily="34" charset="0"/>
              <a:buNone/>
              <a:tabLst/>
              <a:defRPr/>
            </a:pPr>
            <a:r>
              <a:rPr lang="en-MY"/>
              <a:t>	Insert your image here</a:t>
            </a:r>
          </a:p>
        </p:txBody>
      </p:sp>
    </p:spTree>
    <p:extLst>
      <p:ext uri="{BB962C8B-B14F-4D97-AF65-F5344CB8AC3E}">
        <p14:creationId xmlns:p14="http://schemas.microsoft.com/office/powerpoint/2010/main" val="166533191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ext with Landscape Imag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F071F2C-7A73-45F5-A9A4-65C7C6F73B1A}"/>
              </a:ext>
            </a:extLst>
          </p:cNvPr>
          <p:cNvSpPr>
            <a:spLocks noGrp="1"/>
          </p:cNvSpPr>
          <p:nvPr>
            <p:ph type="title" hasCustomPrompt="1"/>
          </p:nvPr>
        </p:nvSpPr>
        <p:spPr>
          <a:xfrm>
            <a:off x="838419" y="371728"/>
            <a:ext cx="10518338" cy="886732"/>
          </a:xfrm>
          <a:prstGeom prst="rect">
            <a:avLst/>
          </a:prstGeom>
        </p:spPr>
        <p:txBody>
          <a:bodyPr anchor="ctr"/>
          <a:lstStyle>
            <a:lvl1pPr algn="ctr">
              <a:defRPr sz="3594" b="0" i="0">
                <a:solidFill>
                  <a:schemeClr val="tx1"/>
                </a:solidFill>
                <a:latin typeface="72" panose="020B0503030000000003" pitchFamily="34" charset="0"/>
              </a:defRPr>
            </a:lvl1pPr>
          </a:lstStyle>
          <a:p>
            <a:r>
              <a:rPr lang="en-US"/>
              <a:t>Insert your main title here</a:t>
            </a:r>
            <a:endParaRPr lang="en-MY"/>
          </a:p>
        </p:txBody>
      </p:sp>
      <p:sp>
        <p:nvSpPr>
          <p:cNvPr id="12" name="Subtitle 2">
            <a:extLst>
              <a:ext uri="{FF2B5EF4-FFF2-40B4-BE49-F238E27FC236}">
                <a16:creationId xmlns:a16="http://schemas.microsoft.com/office/drawing/2014/main" id="{140C2DD2-CCDF-4E20-BAE0-355D6473E549}"/>
              </a:ext>
            </a:extLst>
          </p:cNvPr>
          <p:cNvSpPr>
            <a:spLocks noGrp="1"/>
          </p:cNvSpPr>
          <p:nvPr>
            <p:ph type="subTitle" idx="1" hasCustomPrompt="1"/>
          </p:nvPr>
        </p:nvSpPr>
        <p:spPr>
          <a:xfrm>
            <a:off x="1524397" y="1051062"/>
            <a:ext cx="9146381" cy="436562"/>
          </a:xfrm>
          <a:prstGeom prst="rect">
            <a:avLst/>
          </a:prstGeom>
        </p:spPr>
        <p:txBody>
          <a:bodyPr>
            <a:normAutofit/>
          </a:bodyPr>
          <a:lstStyle>
            <a:lvl1pPr marL="0" indent="0" algn="ctr">
              <a:buNone/>
              <a:defRPr sz="1794" b="0" i="0">
                <a:solidFill>
                  <a:schemeClr val="tx1"/>
                </a:solidFill>
                <a:latin typeface="72" panose="020B0503030000000003" pitchFamily="34" charset="0"/>
              </a:defRPr>
            </a:lvl1pPr>
            <a:lvl2pPr marL="456378" indent="0" algn="ctr">
              <a:buNone/>
              <a:defRPr sz="1994"/>
            </a:lvl2pPr>
            <a:lvl3pPr marL="912756" indent="0" algn="ctr">
              <a:buNone/>
              <a:defRPr sz="1794"/>
            </a:lvl3pPr>
            <a:lvl4pPr marL="1369134" indent="0" algn="ctr">
              <a:buNone/>
              <a:defRPr sz="1600"/>
            </a:lvl4pPr>
            <a:lvl5pPr marL="1825511" indent="0" algn="ctr">
              <a:buNone/>
              <a:defRPr sz="1600"/>
            </a:lvl5pPr>
            <a:lvl6pPr marL="2281888" indent="0" algn="ctr">
              <a:buNone/>
              <a:defRPr sz="1600"/>
            </a:lvl6pPr>
            <a:lvl7pPr marL="2738266" indent="0" algn="ctr">
              <a:buNone/>
              <a:defRPr sz="1600"/>
            </a:lvl7pPr>
            <a:lvl8pPr marL="3194643" indent="0" algn="ctr">
              <a:buNone/>
              <a:defRPr sz="1600"/>
            </a:lvl8pPr>
            <a:lvl9pPr marL="3651021" indent="0" algn="ctr">
              <a:buNone/>
              <a:defRPr sz="1600"/>
            </a:lvl9pPr>
          </a:lstStyle>
          <a:p>
            <a:r>
              <a:rPr lang="en-US"/>
              <a:t>Insert your awesome subtitle here</a:t>
            </a:r>
            <a:endParaRPr lang="en-MY"/>
          </a:p>
        </p:txBody>
      </p:sp>
      <p:sp>
        <p:nvSpPr>
          <p:cNvPr id="3" name="Picture Placeholder 2">
            <a:extLst>
              <a:ext uri="{FF2B5EF4-FFF2-40B4-BE49-F238E27FC236}">
                <a16:creationId xmlns:a16="http://schemas.microsoft.com/office/drawing/2014/main" id="{F5F34278-D38D-4E96-B3D5-3F142FA2DE62}"/>
              </a:ext>
            </a:extLst>
          </p:cNvPr>
          <p:cNvSpPr>
            <a:spLocks noGrp="1"/>
          </p:cNvSpPr>
          <p:nvPr>
            <p:ph type="pic" sz="quarter" idx="11" hasCustomPrompt="1"/>
          </p:nvPr>
        </p:nvSpPr>
        <p:spPr>
          <a:xfrm>
            <a:off x="0" y="1997872"/>
            <a:ext cx="12195175" cy="2862263"/>
          </a:xfrm>
          <a:prstGeom prst="rect">
            <a:avLst/>
          </a:prstGeom>
          <a:pattFill prst="wdDnDiag">
            <a:fgClr>
              <a:schemeClr val="tx1">
                <a:lumMod val="25000"/>
                <a:lumOff val="75000"/>
              </a:schemeClr>
            </a:fgClr>
            <a:bgClr>
              <a:schemeClr val="bg1"/>
            </a:bgClr>
          </a:pattFill>
        </p:spPr>
        <p:txBody>
          <a:bodyPr anchor="ctr"/>
          <a:lstStyle>
            <a:lvl1pPr marL="0" indent="0" algn="ctr">
              <a:buNone/>
              <a:defRPr b="0" i="0">
                <a:solidFill>
                  <a:schemeClr val="tx1"/>
                </a:solidFill>
                <a:latin typeface="72" panose="020B0503030000000003" pitchFamily="34" charset="0"/>
              </a:defRPr>
            </a:lvl1pPr>
          </a:lstStyle>
          <a:p>
            <a:r>
              <a:rPr lang="en-MY"/>
              <a:t>Insert your image here</a:t>
            </a:r>
          </a:p>
        </p:txBody>
      </p:sp>
      <p:sp>
        <p:nvSpPr>
          <p:cNvPr id="2" name="Slide Number Placeholder 1">
            <a:extLst>
              <a:ext uri="{FF2B5EF4-FFF2-40B4-BE49-F238E27FC236}">
                <a16:creationId xmlns:a16="http://schemas.microsoft.com/office/drawing/2014/main" id="{A93E96C4-B692-A7BC-27DE-BDE462F91BC8}"/>
              </a:ext>
            </a:extLst>
          </p:cNvPr>
          <p:cNvSpPr>
            <a:spLocks noGrp="1"/>
          </p:cNvSpPr>
          <p:nvPr>
            <p:ph type="sldNum" sz="quarter" idx="12"/>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32457485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Device Mockup - Page Title 7">
    <p:spTree>
      <p:nvGrpSpPr>
        <p:cNvPr id="1" name=""/>
        <p:cNvGrpSpPr/>
        <p:nvPr/>
      </p:nvGrpSpPr>
      <p:grpSpPr>
        <a:xfrm>
          <a:off x="0" y="0"/>
          <a:ext cx="0" cy="0"/>
          <a:chOff x="0" y="0"/>
          <a:chExt cx="0" cy="0"/>
        </a:xfrm>
      </p:grpSpPr>
      <p:sp>
        <p:nvSpPr>
          <p:cNvPr id="17" name="Picture Placeholder 4">
            <a:extLst>
              <a:ext uri="{FF2B5EF4-FFF2-40B4-BE49-F238E27FC236}">
                <a16:creationId xmlns:a16="http://schemas.microsoft.com/office/drawing/2014/main" id="{8CD1EA07-F28B-4EE2-975A-12EE7F6D65FA}"/>
              </a:ext>
            </a:extLst>
          </p:cNvPr>
          <p:cNvSpPr>
            <a:spLocks noGrp="1"/>
          </p:cNvSpPr>
          <p:nvPr>
            <p:ph type="pic" sz="quarter" idx="12" hasCustomPrompt="1"/>
          </p:nvPr>
        </p:nvSpPr>
        <p:spPr>
          <a:xfrm>
            <a:off x="7823456" y="1990628"/>
            <a:ext cx="2333408" cy="5416012"/>
          </a:xfrm>
          <a:prstGeom prst="roundRect">
            <a:avLst>
              <a:gd name="adj" fmla="val 14489"/>
            </a:avLst>
          </a:prstGeom>
          <a:pattFill prst="wdDnDiag">
            <a:fgClr>
              <a:schemeClr val="tx1">
                <a:lumMod val="25000"/>
                <a:lumOff val="75000"/>
              </a:schemeClr>
            </a:fgClr>
            <a:bgClr>
              <a:schemeClr val="bg1"/>
            </a:bgClr>
          </a:pattFill>
          <a:scene3d>
            <a:camera prst="orthographicFront">
              <a:rot lat="2399998" lon="2400003" rev="3599998"/>
            </a:camera>
            <a:lightRig rig="threePt" dir="t"/>
          </a:scene3d>
        </p:spPr>
        <p:txBody>
          <a:bodyPr anchor="ctr"/>
          <a:lstStyle>
            <a:lvl1pPr marL="0" indent="0" algn="ctr">
              <a:buNone/>
              <a:defRPr b="0" i="0">
                <a:latin typeface="72" panose="020B0503030000000003" pitchFamily="34" charset="0"/>
              </a:defRPr>
            </a:lvl1pPr>
          </a:lstStyle>
          <a:p>
            <a:r>
              <a:rPr lang="en-US"/>
              <a:t>Insert your image here</a:t>
            </a:r>
            <a:endParaRPr lang="en-MY"/>
          </a:p>
        </p:txBody>
      </p:sp>
      <p:sp>
        <p:nvSpPr>
          <p:cNvPr id="12" name="Picture Placeholder 4">
            <a:extLst>
              <a:ext uri="{FF2B5EF4-FFF2-40B4-BE49-F238E27FC236}">
                <a16:creationId xmlns:a16="http://schemas.microsoft.com/office/drawing/2014/main" id="{92D5C748-ED9B-4E7F-BF0A-6DE00637AEB9}"/>
              </a:ext>
            </a:extLst>
          </p:cNvPr>
          <p:cNvSpPr>
            <a:spLocks noGrp="1"/>
          </p:cNvSpPr>
          <p:nvPr>
            <p:ph type="pic" sz="quarter" idx="13" hasCustomPrompt="1"/>
          </p:nvPr>
        </p:nvSpPr>
        <p:spPr>
          <a:xfrm>
            <a:off x="5490048" y="3463828"/>
            <a:ext cx="2333408" cy="5416012"/>
          </a:xfrm>
          <a:prstGeom prst="roundRect">
            <a:avLst>
              <a:gd name="adj" fmla="val 14489"/>
            </a:avLst>
          </a:prstGeom>
          <a:pattFill prst="wdDnDiag">
            <a:fgClr>
              <a:schemeClr val="tx1">
                <a:lumMod val="25000"/>
                <a:lumOff val="75000"/>
              </a:schemeClr>
            </a:fgClr>
            <a:bgClr>
              <a:schemeClr val="bg1"/>
            </a:bgClr>
          </a:pattFill>
          <a:scene3d>
            <a:camera prst="orthographicFront">
              <a:rot lat="2399998" lon="2400003" rev="3599998"/>
            </a:camera>
            <a:lightRig rig="threePt" dir="t"/>
          </a:scene3d>
        </p:spPr>
        <p:txBody>
          <a:bodyPr anchor="ctr"/>
          <a:lstStyle>
            <a:lvl1pPr marL="0" indent="0" algn="ctr">
              <a:buNone/>
              <a:defRPr b="0" i="0">
                <a:latin typeface="72" panose="020B0503030000000003" pitchFamily="34" charset="0"/>
              </a:defRPr>
            </a:lvl1pPr>
          </a:lstStyle>
          <a:p>
            <a:r>
              <a:rPr lang="en-US"/>
              <a:t>Insert your image here</a:t>
            </a:r>
            <a:endParaRPr lang="en-MY"/>
          </a:p>
        </p:txBody>
      </p:sp>
      <p:sp>
        <p:nvSpPr>
          <p:cNvPr id="13" name="Picture Placeholder 4">
            <a:extLst>
              <a:ext uri="{FF2B5EF4-FFF2-40B4-BE49-F238E27FC236}">
                <a16:creationId xmlns:a16="http://schemas.microsoft.com/office/drawing/2014/main" id="{66F3F48E-458C-42E6-9F48-D59A965C7F44}"/>
              </a:ext>
            </a:extLst>
          </p:cNvPr>
          <p:cNvSpPr>
            <a:spLocks noGrp="1"/>
          </p:cNvSpPr>
          <p:nvPr>
            <p:ph type="pic" sz="quarter" idx="14" hasCustomPrompt="1"/>
          </p:nvPr>
        </p:nvSpPr>
        <p:spPr>
          <a:xfrm>
            <a:off x="3156641" y="4937028"/>
            <a:ext cx="2333408" cy="5416012"/>
          </a:xfrm>
          <a:prstGeom prst="roundRect">
            <a:avLst>
              <a:gd name="adj" fmla="val 14489"/>
            </a:avLst>
          </a:prstGeom>
          <a:pattFill prst="wdDnDiag">
            <a:fgClr>
              <a:schemeClr val="tx1">
                <a:lumMod val="25000"/>
                <a:lumOff val="75000"/>
              </a:schemeClr>
            </a:fgClr>
            <a:bgClr>
              <a:schemeClr val="bg1"/>
            </a:bgClr>
          </a:pattFill>
          <a:scene3d>
            <a:camera prst="orthographicFront">
              <a:rot lat="2399998" lon="2400003" rev="3599998"/>
            </a:camera>
            <a:lightRig rig="threePt" dir="t"/>
          </a:scene3d>
        </p:spPr>
        <p:txBody>
          <a:bodyPr anchor="ctr"/>
          <a:lstStyle>
            <a:lvl1pPr marL="0" indent="0" algn="ctr">
              <a:buNone/>
              <a:defRPr b="0" i="0">
                <a:latin typeface="72" panose="020B0503030000000003" pitchFamily="34" charset="0"/>
              </a:defRPr>
            </a:lvl1pPr>
          </a:lstStyle>
          <a:p>
            <a:r>
              <a:rPr lang="en-US"/>
              <a:t>Insert your image here</a:t>
            </a:r>
            <a:endParaRPr lang="en-MY"/>
          </a:p>
        </p:txBody>
      </p:sp>
      <p:sp>
        <p:nvSpPr>
          <p:cNvPr id="14" name="Picture Placeholder 4">
            <a:extLst>
              <a:ext uri="{FF2B5EF4-FFF2-40B4-BE49-F238E27FC236}">
                <a16:creationId xmlns:a16="http://schemas.microsoft.com/office/drawing/2014/main" id="{D3367E99-B49F-4A00-BF2F-3F240242FAB8}"/>
              </a:ext>
            </a:extLst>
          </p:cNvPr>
          <p:cNvSpPr>
            <a:spLocks noGrp="1"/>
          </p:cNvSpPr>
          <p:nvPr>
            <p:ph type="pic" sz="quarter" idx="15" hasCustomPrompt="1"/>
          </p:nvPr>
        </p:nvSpPr>
        <p:spPr>
          <a:xfrm>
            <a:off x="12371021" y="-890883"/>
            <a:ext cx="2333408" cy="5416012"/>
          </a:xfrm>
          <a:prstGeom prst="roundRect">
            <a:avLst>
              <a:gd name="adj" fmla="val 14489"/>
            </a:avLst>
          </a:prstGeom>
          <a:pattFill prst="wdDnDiag">
            <a:fgClr>
              <a:schemeClr val="tx1">
                <a:lumMod val="25000"/>
                <a:lumOff val="75000"/>
              </a:schemeClr>
            </a:fgClr>
            <a:bgClr>
              <a:schemeClr val="bg1"/>
            </a:bgClr>
          </a:pattFill>
          <a:scene3d>
            <a:camera prst="orthographicFront">
              <a:rot lat="2399998" lon="2400003" rev="3599998"/>
            </a:camera>
            <a:lightRig rig="threePt" dir="t"/>
          </a:scene3d>
        </p:spPr>
        <p:txBody>
          <a:bodyPr anchor="ctr"/>
          <a:lstStyle>
            <a:lvl1pPr marL="0" indent="0" algn="ctr">
              <a:buNone/>
              <a:defRPr b="0" i="0">
                <a:latin typeface="72" panose="020B0503030000000003" pitchFamily="34" charset="0"/>
              </a:defRPr>
            </a:lvl1pPr>
          </a:lstStyle>
          <a:p>
            <a:r>
              <a:rPr lang="en-US"/>
              <a:t>Insert your image here</a:t>
            </a:r>
            <a:endParaRPr lang="en-MY"/>
          </a:p>
        </p:txBody>
      </p:sp>
      <p:sp>
        <p:nvSpPr>
          <p:cNvPr id="15" name="Picture Placeholder 4">
            <a:extLst>
              <a:ext uri="{FF2B5EF4-FFF2-40B4-BE49-F238E27FC236}">
                <a16:creationId xmlns:a16="http://schemas.microsoft.com/office/drawing/2014/main" id="{E5D4C8A0-AEBE-45FA-A01B-97A334E8D45C}"/>
              </a:ext>
            </a:extLst>
          </p:cNvPr>
          <p:cNvSpPr>
            <a:spLocks noGrp="1"/>
          </p:cNvSpPr>
          <p:nvPr>
            <p:ph type="pic" sz="quarter" idx="16" hasCustomPrompt="1"/>
          </p:nvPr>
        </p:nvSpPr>
        <p:spPr>
          <a:xfrm>
            <a:off x="10037613" y="582317"/>
            <a:ext cx="2333408" cy="5416012"/>
          </a:xfrm>
          <a:prstGeom prst="roundRect">
            <a:avLst>
              <a:gd name="adj" fmla="val 14489"/>
            </a:avLst>
          </a:prstGeom>
          <a:pattFill prst="wdDnDiag">
            <a:fgClr>
              <a:schemeClr val="tx1">
                <a:lumMod val="25000"/>
                <a:lumOff val="75000"/>
              </a:schemeClr>
            </a:fgClr>
            <a:bgClr>
              <a:schemeClr val="bg1"/>
            </a:bgClr>
          </a:pattFill>
          <a:scene3d>
            <a:camera prst="orthographicFront">
              <a:rot lat="2399998" lon="2400003" rev="3599998"/>
            </a:camera>
            <a:lightRig rig="threePt" dir="t"/>
          </a:scene3d>
        </p:spPr>
        <p:txBody>
          <a:bodyPr anchor="ctr"/>
          <a:lstStyle>
            <a:lvl1pPr marL="0" indent="0" algn="ctr">
              <a:buNone/>
              <a:defRPr b="0" i="0">
                <a:latin typeface="72" panose="020B0503030000000003" pitchFamily="34" charset="0"/>
              </a:defRPr>
            </a:lvl1pPr>
          </a:lstStyle>
          <a:p>
            <a:r>
              <a:rPr lang="en-US"/>
              <a:t>Insert your image here</a:t>
            </a:r>
            <a:endParaRPr lang="en-MY"/>
          </a:p>
        </p:txBody>
      </p:sp>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419" y="371728"/>
            <a:ext cx="10518338" cy="886732"/>
          </a:xfrm>
          <a:prstGeom prst="rect">
            <a:avLst/>
          </a:prstGeom>
        </p:spPr>
        <p:txBody>
          <a:bodyPr anchor="ctr"/>
          <a:lstStyle>
            <a:lvl1pPr algn="ctr">
              <a:defRPr sz="3594" b="0" i="0">
                <a:solidFill>
                  <a:schemeClr val="tx1"/>
                </a:solidFill>
                <a:latin typeface="72" panose="020B0503030000000003" pitchFamily="34" charset="0"/>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397" y="1051062"/>
            <a:ext cx="9146381" cy="436562"/>
          </a:xfrm>
          <a:prstGeom prst="rect">
            <a:avLst/>
          </a:prstGeom>
        </p:spPr>
        <p:txBody>
          <a:bodyPr>
            <a:normAutofit/>
          </a:bodyPr>
          <a:lstStyle>
            <a:lvl1pPr marL="0" indent="0" algn="ctr">
              <a:buNone/>
              <a:defRPr sz="1794" b="0" i="0">
                <a:solidFill>
                  <a:schemeClr val="tx1"/>
                </a:solidFill>
                <a:latin typeface="72" panose="020B0503030000000003" pitchFamily="34" charset="0"/>
              </a:defRPr>
            </a:lvl1pPr>
            <a:lvl2pPr marL="456378" indent="0" algn="ctr">
              <a:buNone/>
              <a:defRPr sz="1994"/>
            </a:lvl2pPr>
            <a:lvl3pPr marL="912756" indent="0" algn="ctr">
              <a:buNone/>
              <a:defRPr sz="1794"/>
            </a:lvl3pPr>
            <a:lvl4pPr marL="1369134" indent="0" algn="ctr">
              <a:buNone/>
              <a:defRPr sz="1600"/>
            </a:lvl4pPr>
            <a:lvl5pPr marL="1825511" indent="0" algn="ctr">
              <a:buNone/>
              <a:defRPr sz="1600"/>
            </a:lvl5pPr>
            <a:lvl6pPr marL="2281888" indent="0" algn="ctr">
              <a:buNone/>
              <a:defRPr sz="1600"/>
            </a:lvl6pPr>
            <a:lvl7pPr marL="2738266" indent="0" algn="ctr">
              <a:buNone/>
              <a:defRPr sz="1600"/>
            </a:lvl7pPr>
            <a:lvl8pPr marL="3194643" indent="0" algn="ctr">
              <a:buNone/>
              <a:defRPr sz="1600"/>
            </a:lvl8pPr>
            <a:lvl9pPr marL="3651021" indent="0" algn="ctr">
              <a:buNone/>
              <a:defRPr sz="1600"/>
            </a:lvl9pPr>
          </a:lstStyle>
          <a:p>
            <a:r>
              <a:rPr lang="en-US"/>
              <a:t>Insert your awesome subtitle here</a:t>
            </a:r>
            <a:endParaRPr lang="en-MY"/>
          </a:p>
        </p:txBody>
      </p:sp>
      <p:sp>
        <p:nvSpPr>
          <p:cNvPr id="2" name="Slide Number Placeholder 1">
            <a:extLst>
              <a:ext uri="{FF2B5EF4-FFF2-40B4-BE49-F238E27FC236}">
                <a16:creationId xmlns:a16="http://schemas.microsoft.com/office/drawing/2014/main" id="{A82CE80C-E664-845F-0732-DFCAFFD80ACA}"/>
              </a:ext>
            </a:extLst>
          </p:cNvPr>
          <p:cNvSpPr>
            <a:spLocks noGrp="1"/>
          </p:cNvSpPr>
          <p:nvPr>
            <p:ph type="sldNum" sz="quarter" idx="17"/>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236745658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Device Mockup - Page Title 9">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A4C2440-9867-45A5-A7B9-82F1D3CF53BB}"/>
              </a:ext>
            </a:extLst>
          </p:cNvPr>
          <p:cNvSpPr>
            <a:spLocks noGrp="1"/>
          </p:cNvSpPr>
          <p:nvPr>
            <p:ph type="pic" sz="quarter" idx="10" hasCustomPrompt="1"/>
          </p:nvPr>
        </p:nvSpPr>
        <p:spPr>
          <a:xfrm>
            <a:off x="792112" y="2036890"/>
            <a:ext cx="4244192" cy="5718148"/>
          </a:xfrm>
          <a:prstGeom prst="rect">
            <a:avLst/>
          </a:prstGeom>
          <a:pattFill prst="wdDnDiag">
            <a:fgClr>
              <a:schemeClr val="tx1">
                <a:lumMod val="25000"/>
                <a:lumOff val="75000"/>
              </a:schemeClr>
            </a:fgClr>
            <a:bgClr>
              <a:schemeClr val="bg1"/>
            </a:bgClr>
          </a:pattFill>
        </p:spPr>
        <p:txBody>
          <a:bodyPr anchor="ctr"/>
          <a:lstStyle>
            <a:lvl1pPr marL="0" indent="0" algn="ctr">
              <a:buNone/>
              <a:defRPr sz="2794" b="0" i="0">
                <a:solidFill>
                  <a:schemeClr val="tx1"/>
                </a:solidFill>
                <a:latin typeface="72" panose="020B0503030000000003" pitchFamily="34" charset="0"/>
              </a:defRPr>
            </a:lvl1pPr>
          </a:lstStyle>
          <a:p>
            <a:r>
              <a:rPr lang="en-US"/>
              <a:t>I</a:t>
            </a:r>
            <a:r>
              <a:rPr lang="en-MY" err="1"/>
              <a:t>nsert</a:t>
            </a:r>
            <a:r>
              <a:rPr lang="en-MY"/>
              <a:t> your image here</a:t>
            </a:r>
          </a:p>
        </p:txBody>
      </p:sp>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419" y="371728"/>
            <a:ext cx="10518338" cy="886732"/>
          </a:xfrm>
          <a:prstGeom prst="rect">
            <a:avLst/>
          </a:prstGeom>
        </p:spPr>
        <p:txBody>
          <a:bodyPr anchor="ctr"/>
          <a:lstStyle>
            <a:lvl1pPr algn="ctr">
              <a:defRPr sz="3594" b="0" i="0">
                <a:solidFill>
                  <a:schemeClr val="tx1"/>
                </a:solidFill>
                <a:latin typeface="72" panose="020B0503030000000003" pitchFamily="34" charset="0"/>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397" y="1051062"/>
            <a:ext cx="9146381" cy="436562"/>
          </a:xfrm>
          <a:prstGeom prst="rect">
            <a:avLst/>
          </a:prstGeom>
        </p:spPr>
        <p:txBody>
          <a:bodyPr>
            <a:normAutofit/>
          </a:bodyPr>
          <a:lstStyle>
            <a:lvl1pPr marL="0" indent="0" algn="ctr">
              <a:buNone/>
              <a:defRPr sz="1794" b="0" i="0">
                <a:solidFill>
                  <a:schemeClr val="tx1"/>
                </a:solidFill>
                <a:latin typeface="72" panose="020B0503030000000003" pitchFamily="34" charset="0"/>
              </a:defRPr>
            </a:lvl1pPr>
            <a:lvl2pPr marL="456378" indent="0" algn="ctr">
              <a:buNone/>
              <a:defRPr sz="1994"/>
            </a:lvl2pPr>
            <a:lvl3pPr marL="912756" indent="0" algn="ctr">
              <a:buNone/>
              <a:defRPr sz="1794"/>
            </a:lvl3pPr>
            <a:lvl4pPr marL="1369134" indent="0" algn="ctr">
              <a:buNone/>
              <a:defRPr sz="1600"/>
            </a:lvl4pPr>
            <a:lvl5pPr marL="1825511" indent="0" algn="ctr">
              <a:buNone/>
              <a:defRPr sz="1600"/>
            </a:lvl5pPr>
            <a:lvl6pPr marL="2281888" indent="0" algn="ctr">
              <a:buNone/>
              <a:defRPr sz="1600"/>
            </a:lvl6pPr>
            <a:lvl7pPr marL="2738266" indent="0" algn="ctr">
              <a:buNone/>
              <a:defRPr sz="1600"/>
            </a:lvl7pPr>
            <a:lvl8pPr marL="3194643" indent="0" algn="ctr">
              <a:buNone/>
              <a:defRPr sz="1600"/>
            </a:lvl8pPr>
            <a:lvl9pPr marL="3651021" indent="0" algn="ctr">
              <a:buNone/>
              <a:defRPr sz="1600"/>
            </a:lvl9pPr>
          </a:lstStyle>
          <a:p>
            <a:r>
              <a:rPr lang="en-US"/>
              <a:t>Insert your awesome subtitle here</a:t>
            </a:r>
            <a:endParaRPr lang="en-MY"/>
          </a:p>
        </p:txBody>
      </p:sp>
      <p:sp>
        <p:nvSpPr>
          <p:cNvPr id="2" name="Slide Number Placeholder 1">
            <a:extLst>
              <a:ext uri="{FF2B5EF4-FFF2-40B4-BE49-F238E27FC236}">
                <a16:creationId xmlns:a16="http://schemas.microsoft.com/office/drawing/2014/main" id="{A0857296-FD61-CD41-C59D-874CD3C017B5}"/>
              </a:ext>
            </a:extLst>
          </p:cNvPr>
          <p:cNvSpPr>
            <a:spLocks noGrp="1"/>
          </p:cNvSpPr>
          <p:nvPr>
            <p:ph type="sldNum" sz="quarter" idx="11"/>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362708834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Device Mockup - Page Title 10">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6B0A44-C28F-4A11-8B5D-8E3838A0900C}"/>
              </a:ext>
            </a:extLst>
          </p:cNvPr>
          <p:cNvSpPr>
            <a:spLocks noGrp="1"/>
          </p:cNvSpPr>
          <p:nvPr>
            <p:ph type="title" hasCustomPrompt="1"/>
          </p:nvPr>
        </p:nvSpPr>
        <p:spPr>
          <a:xfrm>
            <a:off x="838419" y="371728"/>
            <a:ext cx="10518338" cy="886732"/>
          </a:xfrm>
          <a:prstGeom prst="rect">
            <a:avLst/>
          </a:prstGeom>
        </p:spPr>
        <p:txBody>
          <a:bodyPr anchor="ctr"/>
          <a:lstStyle>
            <a:lvl1pPr algn="ctr">
              <a:defRPr sz="3594" b="0" i="0">
                <a:solidFill>
                  <a:schemeClr val="tx1"/>
                </a:solidFill>
                <a:latin typeface="72" panose="020B0503030000000003" pitchFamily="34" charset="0"/>
              </a:defRPr>
            </a:lvl1pPr>
          </a:lstStyle>
          <a:p>
            <a:r>
              <a:rPr lang="en-US"/>
              <a:t>Insert your main title here</a:t>
            </a:r>
            <a:endParaRPr lang="en-MY"/>
          </a:p>
        </p:txBody>
      </p:sp>
      <p:sp>
        <p:nvSpPr>
          <p:cNvPr id="4" name="Subtitle 2">
            <a:extLst>
              <a:ext uri="{FF2B5EF4-FFF2-40B4-BE49-F238E27FC236}">
                <a16:creationId xmlns:a16="http://schemas.microsoft.com/office/drawing/2014/main" id="{45C18F5C-6002-4930-B5D3-8193C946F9C7}"/>
              </a:ext>
            </a:extLst>
          </p:cNvPr>
          <p:cNvSpPr>
            <a:spLocks noGrp="1"/>
          </p:cNvSpPr>
          <p:nvPr>
            <p:ph type="subTitle" idx="1" hasCustomPrompt="1"/>
          </p:nvPr>
        </p:nvSpPr>
        <p:spPr>
          <a:xfrm>
            <a:off x="1524397" y="1051062"/>
            <a:ext cx="9146381" cy="436562"/>
          </a:xfrm>
          <a:prstGeom prst="rect">
            <a:avLst/>
          </a:prstGeom>
        </p:spPr>
        <p:txBody>
          <a:bodyPr>
            <a:normAutofit/>
          </a:bodyPr>
          <a:lstStyle>
            <a:lvl1pPr marL="0" indent="0" algn="ctr">
              <a:buNone/>
              <a:defRPr sz="1794" b="0" i="0">
                <a:solidFill>
                  <a:schemeClr val="tx1"/>
                </a:solidFill>
                <a:latin typeface="72" panose="020B0503030000000003" pitchFamily="34" charset="0"/>
              </a:defRPr>
            </a:lvl1pPr>
            <a:lvl2pPr marL="456378" indent="0" algn="ctr">
              <a:buNone/>
              <a:defRPr sz="1994"/>
            </a:lvl2pPr>
            <a:lvl3pPr marL="912756" indent="0" algn="ctr">
              <a:buNone/>
              <a:defRPr sz="1794"/>
            </a:lvl3pPr>
            <a:lvl4pPr marL="1369134" indent="0" algn="ctr">
              <a:buNone/>
              <a:defRPr sz="1600"/>
            </a:lvl4pPr>
            <a:lvl5pPr marL="1825511" indent="0" algn="ctr">
              <a:buNone/>
              <a:defRPr sz="1600"/>
            </a:lvl5pPr>
            <a:lvl6pPr marL="2281888" indent="0" algn="ctr">
              <a:buNone/>
              <a:defRPr sz="1600"/>
            </a:lvl6pPr>
            <a:lvl7pPr marL="2738266" indent="0" algn="ctr">
              <a:buNone/>
              <a:defRPr sz="1600"/>
            </a:lvl7pPr>
            <a:lvl8pPr marL="3194643" indent="0" algn="ctr">
              <a:buNone/>
              <a:defRPr sz="1600"/>
            </a:lvl8pPr>
            <a:lvl9pPr marL="3651021" indent="0" algn="ctr">
              <a:buNone/>
              <a:defRPr sz="1600"/>
            </a:lvl9pPr>
          </a:lstStyle>
          <a:p>
            <a:r>
              <a:rPr lang="en-US"/>
              <a:t>Insert your awesome subtitle here</a:t>
            </a:r>
            <a:endParaRPr lang="en-MY"/>
          </a:p>
        </p:txBody>
      </p:sp>
      <p:sp>
        <p:nvSpPr>
          <p:cNvPr id="5" name="Picture Placeholder 4">
            <a:extLst>
              <a:ext uri="{FF2B5EF4-FFF2-40B4-BE49-F238E27FC236}">
                <a16:creationId xmlns:a16="http://schemas.microsoft.com/office/drawing/2014/main" id="{CDC30AC0-F60B-48F3-AF96-3C76B04353FE}"/>
              </a:ext>
            </a:extLst>
          </p:cNvPr>
          <p:cNvSpPr>
            <a:spLocks noGrp="1"/>
          </p:cNvSpPr>
          <p:nvPr>
            <p:ph type="pic" sz="quarter" idx="10" hasCustomPrompt="1"/>
          </p:nvPr>
        </p:nvSpPr>
        <p:spPr>
          <a:xfrm>
            <a:off x="6426246" y="1937794"/>
            <a:ext cx="4929683" cy="2782800"/>
          </a:xfrm>
          <a:prstGeom prst="rect">
            <a:avLst/>
          </a:prstGeom>
          <a:pattFill prst="wdDnDiag">
            <a:fgClr>
              <a:schemeClr val="tx1">
                <a:lumMod val="25000"/>
                <a:lumOff val="75000"/>
              </a:schemeClr>
            </a:fgClr>
            <a:bgClr>
              <a:schemeClr val="bg1"/>
            </a:bgClr>
          </a:pattFill>
        </p:spPr>
        <p:txBody>
          <a:bodyPr anchor="ctr"/>
          <a:lstStyle>
            <a:lvl1pPr marL="0" indent="0" algn="ctr">
              <a:buNone/>
              <a:defRPr b="0" i="0">
                <a:solidFill>
                  <a:schemeClr val="tx1"/>
                </a:solidFill>
                <a:latin typeface="72" panose="020B0503030000000003" pitchFamily="34" charset="0"/>
              </a:defRPr>
            </a:lvl1pPr>
          </a:lstStyle>
          <a:p>
            <a:r>
              <a:rPr lang="en-US"/>
              <a:t>Insert your image here</a:t>
            </a:r>
            <a:endParaRPr lang="en-MY"/>
          </a:p>
        </p:txBody>
      </p:sp>
      <p:sp>
        <p:nvSpPr>
          <p:cNvPr id="2" name="Slide Number Placeholder 1">
            <a:extLst>
              <a:ext uri="{FF2B5EF4-FFF2-40B4-BE49-F238E27FC236}">
                <a16:creationId xmlns:a16="http://schemas.microsoft.com/office/drawing/2014/main" id="{8931D614-C5A1-CE39-44FD-2644EEE72EEE}"/>
              </a:ext>
            </a:extLst>
          </p:cNvPr>
          <p:cNvSpPr>
            <a:spLocks noGrp="1"/>
          </p:cNvSpPr>
          <p:nvPr>
            <p:ph type="sldNum" sz="quarter" idx="11"/>
          </p:nvPr>
        </p:nvSpPr>
        <p:spPr>
          <a:xfrm>
            <a:off x="8612843" y="6356363"/>
            <a:ext cx="2743914" cy="365125"/>
          </a:xfrm>
          <a:prstGeom prst="rect">
            <a:avLst/>
          </a:prstGeom>
        </p:spPr>
        <p:txBody>
          <a:bodyPr/>
          <a:lstStyle/>
          <a:p>
            <a:fld id="{25C07C5D-3E7D-8348-A1B7-4964AD638CBE}" type="slidenum">
              <a:rPr lang="en-DE" smtClean="0"/>
              <a:t>‹#›</a:t>
            </a:fld>
            <a:endParaRPr lang="en-DE"/>
          </a:p>
        </p:txBody>
      </p:sp>
    </p:spTree>
    <p:extLst>
      <p:ext uri="{BB962C8B-B14F-4D97-AF65-F5344CB8AC3E}">
        <p14:creationId xmlns:p14="http://schemas.microsoft.com/office/powerpoint/2010/main" val="117284369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slideLayout" Target="../slideLayouts/slideLayout42.xml"/><Relationship Id="rId1" Type="http://schemas.openxmlformats.org/officeDocument/2006/relationships/slideLayout" Target="../slideLayouts/slideLayout41.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17" Type="http://schemas.openxmlformats.org/officeDocument/2006/relationships/tags" Target="../tags/tag58.xml"/><Relationship Id="rId21" Type="http://schemas.openxmlformats.org/officeDocument/2006/relationships/slideLayout" Target="../slideLayouts/slideLayout64.xml"/><Relationship Id="rId42" Type="http://schemas.openxmlformats.org/officeDocument/2006/relationships/slideLayout" Target="../slideLayouts/slideLayout85.xml"/><Relationship Id="rId63" Type="http://schemas.openxmlformats.org/officeDocument/2006/relationships/tags" Target="../tags/tag4.xml"/><Relationship Id="rId84" Type="http://schemas.openxmlformats.org/officeDocument/2006/relationships/tags" Target="../tags/tag25.xml"/><Relationship Id="rId138" Type="http://schemas.openxmlformats.org/officeDocument/2006/relationships/tags" Target="../tags/tag79.xml"/><Relationship Id="rId159" Type="http://schemas.openxmlformats.org/officeDocument/2006/relationships/tags" Target="../tags/tag100.xml"/><Relationship Id="rId170" Type="http://schemas.openxmlformats.org/officeDocument/2006/relationships/tags" Target="../tags/tag111.xml"/><Relationship Id="rId107" Type="http://schemas.openxmlformats.org/officeDocument/2006/relationships/tags" Target="../tags/tag48.xml"/><Relationship Id="rId11" Type="http://schemas.openxmlformats.org/officeDocument/2006/relationships/slideLayout" Target="../slideLayouts/slideLayout54.xml"/><Relationship Id="rId32" Type="http://schemas.openxmlformats.org/officeDocument/2006/relationships/slideLayout" Target="../slideLayouts/slideLayout75.xml"/><Relationship Id="rId53" Type="http://schemas.openxmlformats.org/officeDocument/2006/relationships/slideLayout" Target="../slideLayouts/slideLayout96.xml"/><Relationship Id="rId74" Type="http://schemas.openxmlformats.org/officeDocument/2006/relationships/tags" Target="../tags/tag15.xml"/><Relationship Id="rId128" Type="http://schemas.openxmlformats.org/officeDocument/2006/relationships/tags" Target="../tags/tag69.xml"/><Relationship Id="rId149" Type="http://schemas.openxmlformats.org/officeDocument/2006/relationships/tags" Target="../tags/tag90.xml"/><Relationship Id="rId5" Type="http://schemas.openxmlformats.org/officeDocument/2006/relationships/slideLayout" Target="../slideLayouts/slideLayout48.xml"/><Relationship Id="rId95" Type="http://schemas.openxmlformats.org/officeDocument/2006/relationships/tags" Target="../tags/tag36.xml"/><Relationship Id="rId160" Type="http://schemas.openxmlformats.org/officeDocument/2006/relationships/tags" Target="../tags/tag101.xml"/><Relationship Id="rId181" Type="http://schemas.openxmlformats.org/officeDocument/2006/relationships/tags" Target="../tags/tag122.xml"/><Relationship Id="rId22" Type="http://schemas.openxmlformats.org/officeDocument/2006/relationships/slideLayout" Target="../slideLayouts/slideLayout65.xml"/><Relationship Id="rId43" Type="http://schemas.openxmlformats.org/officeDocument/2006/relationships/slideLayout" Target="../slideLayouts/slideLayout86.xml"/><Relationship Id="rId64" Type="http://schemas.openxmlformats.org/officeDocument/2006/relationships/tags" Target="../tags/tag5.xml"/><Relationship Id="rId118" Type="http://schemas.openxmlformats.org/officeDocument/2006/relationships/tags" Target="../tags/tag59.xml"/><Relationship Id="rId139" Type="http://schemas.openxmlformats.org/officeDocument/2006/relationships/tags" Target="../tags/tag80.xml"/><Relationship Id="rId85" Type="http://schemas.openxmlformats.org/officeDocument/2006/relationships/tags" Target="../tags/tag26.xml"/><Relationship Id="rId150" Type="http://schemas.openxmlformats.org/officeDocument/2006/relationships/tags" Target="../tags/tag91.xml"/><Relationship Id="rId171" Type="http://schemas.openxmlformats.org/officeDocument/2006/relationships/tags" Target="../tags/tag112.xml"/><Relationship Id="rId12" Type="http://schemas.openxmlformats.org/officeDocument/2006/relationships/slideLayout" Target="../slideLayouts/slideLayout55.xml"/><Relationship Id="rId33" Type="http://schemas.openxmlformats.org/officeDocument/2006/relationships/slideLayout" Target="../slideLayouts/slideLayout76.xml"/><Relationship Id="rId108" Type="http://schemas.openxmlformats.org/officeDocument/2006/relationships/tags" Target="../tags/tag49.xml"/><Relationship Id="rId129" Type="http://schemas.openxmlformats.org/officeDocument/2006/relationships/tags" Target="../tags/tag70.xml"/><Relationship Id="rId54" Type="http://schemas.openxmlformats.org/officeDocument/2006/relationships/slideLayout" Target="../slideLayouts/slideLayout97.xml"/><Relationship Id="rId75" Type="http://schemas.openxmlformats.org/officeDocument/2006/relationships/tags" Target="../tags/tag16.xml"/><Relationship Id="rId96" Type="http://schemas.openxmlformats.org/officeDocument/2006/relationships/tags" Target="../tags/tag37.xml"/><Relationship Id="rId140" Type="http://schemas.openxmlformats.org/officeDocument/2006/relationships/tags" Target="../tags/tag81.xml"/><Relationship Id="rId161" Type="http://schemas.openxmlformats.org/officeDocument/2006/relationships/tags" Target="../tags/tag102.xml"/><Relationship Id="rId182" Type="http://schemas.openxmlformats.org/officeDocument/2006/relationships/tags" Target="../tags/tag123.xml"/><Relationship Id="rId6" Type="http://schemas.openxmlformats.org/officeDocument/2006/relationships/slideLayout" Target="../slideLayouts/slideLayout49.xml"/><Relationship Id="rId23" Type="http://schemas.openxmlformats.org/officeDocument/2006/relationships/slideLayout" Target="../slideLayouts/slideLayout66.xml"/><Relationship Id="rId119" Type="http://schemas.openxmlformats.org/officeDocument/2006/relationships/tags" Target="../tags/tag60.xml"/><Relationship Id="rId44" Type="http://schemas.openxmlformats.org/officeDocument/2006/relationships/slideLayout" Target="../slideLayouts/slideLayout87.xml"/><Relationship Id="rId65" Type="http://schemas.openxmlformats.org/officeDocument/2006/relationships/tags" Target="../tags/tag6.xml"/><Relationship Id="rId86" Type="http://schemas.openxmlformats.org/officeDocument/2006/relationships/tags" Target="../tags/tag27.xml"/><Relationship Id="rId130" Type="http://schemas.openxmlformats.org/officeDocument/2006/relationships/tags" Target="../tags/tag71.xml"/><Relationship Id="rId151" Type="http://schemas.openxmlformats.org/officeDocument/2006/relationships/tags" Target="../tags/tag92.xml"/><Relationship Id="rId172" Type="http://schemas.openxmlformats.org/officeDocument/2006/relationships/tags" Target="../tags/tag113.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9" Type="http://schemas.openxmlformats.org/officeDocument/2006/relationships/slideLayout" Target="../slideLayouts/slideLayout82.xml"/><Relationship Id="rId109" Type="http://schemas.openxmlformats.org/officeDocument/2006/relationships/tags" Target="../tags/tag50.xml"/><Relationship Id="rId34" Type="http://schemas.openxmlformats.org/officeDocument/2006/relationships/slideLayout" Target="../slideLayouts/slideLayout77.xml"/><Relationship Id="rId50" Type="http://schemas.openxmlformats.org/officeDocument/2006/relationships/slideLayout" Target="../slideLayouts/slideLayout93.xml"/><Relationship Id="rId55" Type="http://schemas.openxmlformats.org/officeDocument/2006/relationships/slideLayout" Target="../slideLayouts/slideLayout98.xml"/><Relationship Id="rId76" Type="http://schemas.openxmlformats.org/officeDocument/2006/relationships/tags" Target="../tags/tag17.xml"/><Relationship Id="rId97" Type="http://schemas.openxmlformats.org/officeDocument/2006/relationships/tags" Target="../tags/tag38.xml"/><Relationship Id="rId104" Type="http://schemas.openxmlformats.org/officeDocument/2006/relationships/tags" Target="../tags/tag45.xml"/><Relationship Id="rId120" Type="http://schemas.openxmlformats.org/officeDocument/2006/relationships/tags" Target="../tags/tag61.xml"/><Relationship Id="rId125" Type="http://schemas.openxmlformats.org/officeDocument/2006/relationships/tags" Target="../tags/tag66.xml"/><Relationship Id="rId141" Type="http://schemas.openxmlformats.org/officeDocument/2006/relationships/tags" Target="../tags/tag82.xml"/><Relationship Id="rId146" Type="http://schemas.openxmlformats.org/officeDocument/2006/relationships/tags" Target="../tags/tag87.xml"/><Relationship Id="rId167" Type="http://schemas.openxmlformats.org/officeDocument/2006/relationships/tags" Target="../tags/tag108.xml"/><Relationship Id="rId7" Type="http://schemas.openxmlformats.org/officeDocument/2006/relationships/slideLayout" Target="../slideLayouts/slideLayout50.xml"/><Relationship Id="rId71" Type="http://schemas.openxmlformats.org/officeDocument/2006/relationships/tags" Target="../tags/tag12.xml"/><Relationship Id="rId92" Type="http://schemas.openxmlformats.org/officeDocument/2006/relationships/tags" Target="../tags/tag33.xml"/><Relationship Id="rId162" Type="http://schemas.openxmlformats.org/officeDocument/2006/relationships/tags" Target="../tags/tag103.xml"/><Relationship Id="rId183" Type="http://schemas.openxmlformats.org/officeDocument/2006/relationships/tags" Target="../tags/tag124.xml"/><Relationship Id="rId2" Type="http://schemas.openxmlformats.org/officeDocument/2006/relationships/slideLayout" Target="../slideLayouts/slideLayout45.xml"/><Relationship Id="rId29" Type="http://schemas.openxmlformats.org/officeDocument/2006/relationships/slideLayout" Target="../slideLayouts/slideLayout72.xml"/><Relationship Id="rId24" Type="http://schemas.openxmlformats.org/officeDocument/2006/relationships/slideLayout" Target="../slideLayouts/slideLayout67.xml"/><Relationship Id="rId40" Type="http://schemas.openxmlformats.org/officeDocument/2006/relationships/slideLayout" Target="../slideLayouts/slideLayout83.xml"/><Relationship Id="rId45" Type="http://schemas.openxmlformats.org/officeDocument/2006/relationships/slideLayout" Target="../slideLayouts/slideLayout88.xml"/><Relationship Id="rId66" Type="http://schemas.openxmlformats.org/officeDocument/2006/relationships/tags" Target="../tags/tag7.xml"/><Relationship Id="rId87" Type="http://schemas.openxmlformats.org/officeDocument/2006/relationships/tags" Target="../tags/tag28.xml"/><Relationship Id="rId110" Type="http://schemas.openxmlformats.org/officeDocument/2006/relationships/tags" Target="../tags/tag51.xml"/><Relationship Id="rId115" Type="http://schemas.openxmlformats.org/officeDocument/2006/relationships/tags" Target="../tags/tag56.xml"/><Relationship Id="rId131" Type="http://schemas.openxmlformats.org/officeDocument/2006/relationships/tags" Target="../tags/tag72.xml"/><Relationship Id="rId136" Type="http://schemas.openxmlformats.org/officeDocument/2006/relationships/tags" Target="../tags/tag77.xml"/><Relationship Id="rId157" Type="http://schemas.openxmlformats.org/officeDocument/2006/relationships/tags" Target="../tags/tag98.xml"/><Relationship Id="rId178" Type="http://schemas.openxmlformats.org/officeDocument/2006/relationships/tags" Target="../tags/tag119.xml"/><Relationship Id="rId61" Type="http://schemas.openxmlformats.org/officeDocument/2006/relationships/tags" Target="../tags/tag2.xml"/><Relationship Id="rId82" Type="http://schemas.openxmlformats.org/officeDocument/2006/relationships/tags" Target="../tags/tag23.xml"/><Relationship Id="rId152" Type="http://schemas.openxmlformats.org/officeDocument/2006/relationships/tags" Target="../tags/tag93.xml"/><Relationship Id="rId173" Type="http://schemas.openxmlformats.org/officeDocument/2006/relationships/tags" Target="../tags/tag114.xml"/><Relationship Id="rId19" Type="http://schemas.openxmlformats.org/officeDocument/2006/relationships/slideLayout" Target="../slideLayouts/slideLayout62.xml"/><Relationship Id="rId14" Type="http://schemas.openxmlformats.org/officeDocument/2006/relationships/slideLayout" Target="../slideLayouts/slideLayout57.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56" Type="http://schemas.openxmlformats.org/officeDocument/2006/relationships/slideLayout" Target="../slideLayouts/slideLayout99.xml"/><Relationship Id="rId77" Type="http://schemas.openxmlformats.org/officeDocument/2006/relationships/tags" Target="../tags/tag18.xml"/><Relationship Id="rId100" Type="http://schemas.openxmlformats.org/officeDocument/2006/relationships/tags" Target="../tags/tag41.xml"/><Relationship Id="rId105" Type="http://schemas.openxmlformats.org/officeDocument/2006/relationships/tags" Target="../tags/tag46.xml"/><Relationship Id="rId126" Type="http://schemas.openxmlformats.org/officeDocument/2006/relationships/tags" Target="../tags/tag67.xml"/><Relationship Id="rId147" Type="http://schemas.openxmlformats.org/officeDocument/2006/relationships/tags" Target="../tags/tag88.xml"/><Relationship Id="rId168" Type="http://schemas.openxmlformats.org/officeDocument/2006/relationships/tags" Target="../tags/tag109.xml"/><Relationship Id="rId8" Type="http://schemas.openxmlformats.org/officeDocument/2006/relationships/slideLayout" Target="../slideLayouts/slideLayout51.xml"/><Relationship Id="rId51" Type="http://schemas.openxmlformats.org/officeDocument/2006/relationships/slideLayout" Target="../slideLayouts/slideLayout94.xml"/><Relationship Id="rId72" Type="http://schemas.openxmlformats.org/officeDocument/2006/relationships/tags" Target="../tags/tag13.xml"/><Relationship Id="rId93" Type="http://schemas.openxmlformats.org/officeDocument/2006/relationships/tags" Target="../tags/tag34.xml"/><Relationship Id="rId98" Type="http://schemas.openxmlformats.org/officeDocument/2006/relationships/tags" Target="../tags/tag39.xml"/><Relationship Id="rId121" Type="http://schemas.openxmlformats.org/officeDocument/2006/relationships/tags" Target="../tags/tag62.xml"/><Relationship Id="rId142" Type="http://schemas.openxmlformats.org/officeDocument/2006/relationships/tags" Target="../tags/tag83.xml"/><Relationship Id="rId163" Type="http://schemas.openxmlformats.org/officeDocument/2006/relationships/tags" Target="../tags/tag104.xml"/><Relationship Id="rId184" Type="http://schemas.openxmlformats.org/officeDocument/2006/relationships/oleObject" Target="../embeddings/oleObject1.bin"/><Relationship Id="rId3" Type="http://schemas.openxmlformats.org/officeDocument/2006/relationships/slideLayout" Target="../slideLayouts/slideLayout46.xml"/><Relationship Id="rId25" Type="http://schemas.openxmlformats.org/officeDocument/2006/relationships/slideLayout" Target="../slideLayouts/slideLayout68.xml"/><Relationship Id="rId46" Type="http://schemas.openxmlformats.org/officeDocument/2006/relationships/slideLayout" Target="../slideLayouts/slideLayout89.xml"/><Relationship Id="rId67" Type="http://schemas.openxmlformats.org/officeDocument/2006/relationships/tags" Target="../tags/tag8.xml"/><Relationship Id="rId116" Type="http://schemas.openxmlformats.org/officeDocument/2006/relationships/tags" Target="../tags/tag57.xml"/><Relationship Id="rId137" Type="http://schemas.openxmlformats.org/officeDocument/2006/relationships/tags" Target="../tags/tag78.xml"/><Relationship Id="rId158" Type="http://schemas.openxmlformats.org/officeDocument/2006/relationships/tags" Target="../tags/tag99.xml"/><Relationship Id="rId20" Type="http://schemas.openxmlformats.org/officeDocument/2006/relationships/slideLayout" Target="../slideLayouts/slideLayout63.xml"/><Relationship Id="rId41" Type="http://schemas.openxmlformats.org/officeDocument/2006/relationships/slideLayout" Target="../slideLayouts/slideLayout84.xml"/><Relationship Id="rId62" Type="http://schemas.openxmlformats.org/officeDocument/2006/relationships/tags" Target="../tags/tag3.xml"/><Relationship Id="rId83" Type="http://schemas.openxmlformats.org/officeDocument/2006/relationships/tags" Target="../tags/tag24.xml"/><Relationship Id="rId88" Type="http://schemas.openxmlformats.org/officeDocument/2006/relationships/tags" Target="../tags/tag29.xml"/><Relationship Id="rId111" Type="http://schemas.openxmlformats.org/officeDocument/2006/relationships/tags" Target="../tags/tag52.xml"/><Relationship Id="rId132" Type="http://schemas.openxmlformats.org/officeDocument/2006/relationships/tags" Target="../tags/tag73.xml"/><Relationship Id="rId153" Type="http://schemas.openxmlformats.org/officeDocument/2006/relationships/tags" Target="../tags/tag94.xml"/><Relationship Id="rId174" Type="http://schemas.openxmlformats.org/officeDocument/2006/relationships/tags" Target="../tags/tag115.xml"/><Relationship Id="rId179" Type="http://schemas.openxmlformats.org/officeDocument/2006/relationships/tags" Target="../tags/tag120.xml"/><Relationship Id="rId15" Type="http://schemas.openxmlformats.org/officeDocument/2006/relationships/slideLayout" Target="../slideLayouts/slideLayout58.xml"/><Relationship Id="rId36" Type="http://schemas.openxmlformats.org/officeDocument/2006/relationships/slideLayout" Target="../slideLayouts/slideLayout79.xml"/><Relationship Id="rId57" Type="http://schemas.openxmlformats.org/officeDocument/2006/relationships/slideLayout" Target="../slideLayouts/slideLayout100.xml"/><Relationship Id="rId106" Type="http://schemas.openxmlformats.org/officeDocument/2006/relationships/tags" Target="../tags/tag47.xml"/><Relationship Id="rId127" Type="http://schemas.openxmlformats.org/officeDocument/2006/relationships/tags" Target="../tags/tag68.xml"/><Relationship Id="rId10" Type="http://schemas.openxmlformats.org/officeDocument/2006/relationships/slideLayout" Target="../slideLayouts/slideLayout53.xml"/><Relationship Id="rId31" Type="http://schemas.openxmlformats.org/officeDocument/2006/relationships/slideLayout" Target="../slideLayouts/slideLayout74.xml"/><Relationship Id="rId52" Type="http://schemas.openxmlformats.org/officeDocument/2006/relationships/slideLayout" Target="../slideLayouts/slideLayout95.xml"/><Relationship Id="rId73" Type="http://schemas.openxmlformats.org/officeDocument/2006/relationships/tags" Target="../tags/tag14.xml"/><Relationship Id="rId78" Type="http://schemas.openxmlformats.org/officeDocument/2006/relationships/tags" Target="../tags/tag19.xml"/><Relationship Id="rId94" Type="http://schemas.openxmlformats.org/officeDocument/2006/relationships/tags" Target="../tags/tag35.xml"/><Relationship Id="rId99" Type="http://schemas.openxmlformats.org/officeDocument/2006/relationships/tags" Target="../tags/tag40.xml"/><Relationship Id="rId101" Type="http://schemas.openxmlformats.org/officeDocument/2006/relationships/tags" Target="../tags/tag42.xml"/><Relationship Id="rId122" Type="http://schemas.openxmlformats.org/officeDocument/2006/relationships/tags" Target="../tags/tag63.xml"/><Relationship Id="rId143" Type="http://schemas.openxmlformats.org/officeDocument/2006/relationships/tags" Target="../tags/tag84.xml"/><Relationship Id="rId148" Type="http://schemas.openxmlformats.org/officeDocument/2006/relationships/tags" Target="../tags/tag89.xml"/><Relationship Id="rId164" Type="http://schemas.openxmlformats.org/officeDocument/2006/relationships/tags" Target="../tags/tag105.xml"/><Relationship Id="rId169" Type="http://schemas.openxmlformats.org/officeDocument/2006/relationships/tags" Target="../tags/tag110.xml"/><Relationship Id="rId185" Type="http://schemas.openxmlformats.org/officeDocument/2006/relationships/image" Target="../media/image12.emf"/><Relationship Id="rId4" Type="http://schemas.openxmlformats.org/officeDocument/2006/relationships/slideLayout" Target="../slideLayouts/slideLayout47.xml"/><Relationship Id="rId9" Type="http://schemas.openxmlformats.org/officeDocument/2006/relationships/slideLayout" Target="../slideLayouts/slideLayout52.xml"/><Relationship Id="rId180" Type="http://schemas.openxmlformats.org/officeDocument/2006/relationships/tags" Target="../tags/tag121.xml"/><Relationship Id="rId26" Type="http://schemas.openxmlformats.org/officeDocument/2006/relationships/slideLayout" Target="../slideLayouts/slideLayout69.xml"/><Relationship Id="rId47" Type="http://schemas.openxmlformats.org/officeDocument/2006/relationships/slideLayout" Target="../slideLayouts/slideLayout90.xml"/><Relationship Id="rId68" Type="http://schemas.openxmlformats.org/officeDocument/2006/relationships/tags" Target="../tags/tag9.xml"/><Relationship Id="rId89" Type="http://schemas.openxmlformats.org/officeDocument/2006/relationships/tags" Target="../tags/tag30.xml"/><Relationship Id="rId112" Type="http://schemas.openxmlformats.org/officeDocument/2006/relationships/tags" Target="../tags/tag53.xml"/><Relationship Id="rId133" Type="http://schemas.openxmlformats.org/officeDocument/2006/relationships/tags" Target="../tags/tag74.xml"/><Relationship Id="rId154" Type="http://schemas.openxmlformats.org/officeDocument/2006/relationships/tags" Target="../tags/tag95.xml"/><Relationship Id="rId175" Type="http://schemas.openxmlformats.org/officeDocument/2006/relationships/tags" Target="../tags/tag116.xml"/><Relationship Id="rId16" Type="http://schemas.openxmlformats.org/officeDocument/2006/relationships/slideLayout" Target="../slideLayouts/slideLayout59.xml"/><Relationship Id="rId37" Type="http://schemas.openxmlformats.org/officeDocument/2006/relationships/slideLayout" Target="../slideLayouts/slideLayout80.xml"/><Relationship Id="rId58" Type="http://schemas.openxmlformats.org/officeDocument/2006/relationships/slideLayout" Target="../slideLayouts/slideLayout101.xml"/><Relationship Id="rId79" Type="http://schemas.openxmlformats.org/officeDocument/2006/relationships/tags" Target="../tags/tag20.xml"/><Relationship Id="rId102" Type="http://schemas.openxmlformats.org/officeDocument/2006/relationships/tags" Target="../tags/tag43.xml"/><Relationship Id="rId123" Type="http://schemas.openxmlformats.org/officeDocument/2006/relationships/tags" Target="../tags/tag64.xml"/><Relationship Id="rId144" Type="http://schemas.openxmlformats.org/officeDocument/2006/relationships/tags" Target="../tags/tag85.xml"/><Relationship Id="rId90" Type="http://schemas.openxmlformats.org/officeDocument/2006/relationships/tags" Target="../tags/tag31.xml"/><Relationship Id="rId165" Type="http://schemas.openxmlformats.org/officeDocument/2006/relationships/tags" Target="../tags/tag106.xml"/><Relationship Id="rId27" Type="http://schemas.openxmlformats.org/officeDocument/2006/relationships/slideLayout" Target="../slideLayouts/slideLayout70.xml"/><Relationship Id="rId48" Type="http://schemas.openxmlformats.org/officeDocument/2006/relationships/slideLayout" Target="../slideLayouts/slideLayout91.xml"/><Relationship Id="rId69" Type="http://schemas.openxmlformats.org/officeDocument/2006/relationships/tags" Target="../tags/tag10.xml"/><Relationship Id="rId113" Type="http://schemas.openxmlformats.org/officeDocument/2006/relationships/tags" Target="../tags/tag54.xml"/><Relationship Id="rId134" Type="http://schemas.openxmlformats.org/officeDocument/2006/relationships/tags" Target="../tags/tag75.xml"/><Relationship Id="rId80" Type="http://schemas.openxmlformats.org/officeDocument/2006/relationships/tags" Target="../tags/tag21.xml"/><Relationship Id="rId155" Type="http://schemas.openxmlformats.org/officeDocument/2006/relationships/tags" Target="../tags/tag96.xml"/><Relationship Id="rId176" Type="http://schemas.openxmlformats.org/officeDocument/2006/relationships/tags" Target="../tags/tag117.xml"/><Relationship Id="rId17" Type="http://schemas.openxmlformats.org/officeDocument/2006/relationships/slideLayout" Target="../slideLayouts/slideLayout60.xml"/><Relationship Id="rId38" Type="http://schemas.openxmlformats.org/officeDocument/2006/relationships/slideLayout" Target="../slideLayouts/slideLayout81.xml"/><Relationship Id="rId59" Type="http://schemas.openxmlformats.org/officeDocument/2006/relationships/theme" Target="../theme/theme3.xml"/><Relationship Id="rId103" Type="http://schemas.openxmlformats.org/officeDocument/2006/relationships/tags" Target="../tags/tag44.xml"/><Relationship Id="rId124" Type="http://schemas.openxmlformats.org/officeDocument/2006/relationships/tags" Target="../tags/tag65.xml"/><Relationship Id="rId70" Type="http://schemas.openxmlformats.org/officeDocument/2006/relationships/tags" Target="../tags/tag11.xml"/><Relationship Id="rId91" Type="http://schemas.openxmlformats.org/officeDocument/2006/relationships/tags" Target="../tags/tag32.xml"/><Relationship Id="rId145" Type="http://schemas.openxmlformats.org/officeDocument/2006/relationships/tags" Target="../tags/tag86.xml"/><Relationship Id="rId166" Type="http://schemas.openxmlformats.org/officeDocument/2006/relationships/tags" Target="../tags/tag107.xml"/><Relationship Id="rId1" Type="http://schemas.openxmlformats.org/officeDocument/2006/relationships/slideLayout" Target="../slideLayouts/slideLayout44.xml"/><Relationship Id="rId28" Type="http://schemas.openxmlformats.org/officeDocument/2006/relationships/slideLayout" Target="../slideLayouts/slideLayout71.xml"/><Relationship Id="rId49" Type="http://schemas.openxmlformats.org/officeDocument/2006/relationships/slideLayout" Target="../slideLayouts/slideLayout92.xml"/><Relationship Id="rId114" Type="http://schemas.openxmlformats.org/officeDocument/2006/relationships/tags" Target="../tags/tag55.xml"/><Relationship Id="rId60" Type="http://schemas.openxmlformats.org/officeDocument/2006/relationships/tags" Target="../tags/tag1.xml"/><Relationship Id="rId81" Type="http://schemas.openxmlformats.org/officeDocument/2006/relationships/tags" Target="../tags/tag22.xml"/><Relationship Id="rId135" Type="http://schemas.openxmlformats.org/officeDocument/2006/relationships/tags" Target="../tags/tag76.xml"/><Relationship Id="rId156" Type="http://schemas.openxmlformats.org/officeDocument/2006/relationships/tags" Target="../tags/tag97.xml"/><Relationship Id="rId177" Type="http://schemas.openxmlformats.org/officeDocument/2006/relationships/tags" Target="../tags/tag1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1" name="Classification"/>
          <p:cNvSpPr txBox="1"/>
          <p:nvPr userDrawn="1"/>
        </p:nvSpPr>
        <p:spPr bwMode="black">
          <a:xfrm>
            <a:off x="2814655" y="6559834"/>
            <a:ext cx="381515"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INTERNAL</a:t>
            </a: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4 SAP SE or an SAP affiliate company. All rights reserved.  </a:t>
            </a:r>
            <a:r>
              <a:rPr kumimoji="0" lang="en-US" sz="600" b="0" i="0" u="none" kern="0" baseline="0" err="1">
                <a:solidFill>
                  <a:schemeClr val="tx1"/>
                </a:solidFill>
                <a:latin typeface="Arial"/>
                <a:ea typeface="Arial Unicode MS"/>
                <a:cs typeface="Arial Unicode MS" pitchFamily="34" charset="-128"/>
                <a:sym typeface="Arial"/>
              </a:rPr>
              <a:t>ǀ</a:t>
            </a:r>
            <a:endParaRPr kumimoji="0" lang="en-US" sz="600" b="0" i="0" u="none" kern="0" baseline="0">
              <a:solidFill>
                <a:schemeClr val="tx1"/>
              </a:solidFill>
              <a:latin typeface="Arial"/>
              <a:ea typeface="Arial Unicode MS"/>
              <a:cs typeface="Arial Unicode MS" pitchFamily="34" charset="-128"/>
              <a:sym typeface="Arial"/>
            </a:endParaRP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5" r:id="rId3"/>
    <p:sldLayoutId id="2147483741" r:id="rId4"/>
    <p:sldLayoutId id="2147483765" r:id="rId5"/>
    <p:sldLayoutId id="2147483767" r:id="rId6"/>
    <p:sldLayoutId id="2147483743" r:id="rId7"/>
    <p:sldLayoutId id="2147483785" r:id="rId8"/>
    <p:sldLayoutId id="2147483774" r:id="rId9"/>
    <p:sldLayoutId id="2147483745" r:id="rId10"/>
    <p:sldLayoutId id="2147483760" r:id="rId11"/>
    <p:sldLayoutId id="2147483768" r:id="rId12"/>
    <p:sldLayoutId id="2147483769" r:id="rId13"/>
    <p:sldLayoutId id="2147483770" r:id="rId14"/>
    <p:sldLayoutId id="2147483744" r:id="rId15"/>
    <p:sldLayoutId id="2147483757" r:id="rId16"/>
    <p:sldLayoutId id="2147483748" r:id="rId17"/>
    <p:sldLayoutId id="2147483771" r:id="rId18"/>
    <p:sldLayoutId id="2147483763" r:id="rId19"/>
    <p:sldLayoutId id="2147483751" r:id="rId20"/>
    <p:sldLayoutId id="2147483756" r:id="rId21"/>
    <p:sldLayoutId id="2147483740" r:id="rId22"/>
    <p:sldLayoutId id="2147483754" r:id="rId23"/>
    <p:sldLayoutId id="2147483755" r:id="rId24"/>
    <p:sldLayoutId id="2147483787" r:id="rId25"/>
    <p:sldLayoutId id="2147483788" r:id="rId26"/>
    <p:sldLayoutId id="2147483789" r:id="rId27"/>
    <p:sldLayoutId id="2147483791" r:id="rId28"/>
    <p:sldLayoutId id="2147483792" r:id="rId29"/>
    <p:sldLayoutId id="2147483797" r:id="rId30"/>
    <p:sldLayoutId id="2147483798" r:id="rId31"/>
    <p:sldLayoutId id="2147483799" r:id="rId32"/>
    <p:sldLayoutId id="2147483800" r:id="rId33"/>
    <p:sldLayoutId id="2147483801" r:id="rId34"/>
    <p:sldLayoutId id="2147483802" r:id="rId35"/>
    <p:sldLayoutId id="2147483803" r:id="rId36"/>
    <p:sldLayoutId id="2147483804" r:id="rId37"/>
    <p:sldLayoutId id="2147483807" r:id="rId38"/>
    <p:sldLayoutId id="2147483808" r:id="rId39"/>
    <p:sldLayoutId id="2147483809" r:id="rId40"/>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195A"/>
        </a:solidFill>
        <a:effectLst/>
      </p:bgPr>
    </p:bg>
    <p:spTree>
      <p:nvGrpSpPr>
        <p:cNvPr id="1" name=""/>
        <p:cNvGrpSpPr/>
        <p:nvPr/>
      </p:nvGrpSpPr>
      <p:grpSpPr>
        <a:xfrm>
          <a:off x="0" y="0"/>
          <a:ext cx="0" cy="0"/>
          <a:chOff x="0" y="0"/>
          <a:chExt cx="0" cy="0"/>
        </a:xfrm>
      </p:grpSpPr>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
        <p:nvSpPr>
          <p:cNvPr id="13" name="Slide number">
            <a:extLst>
              <a:ext uri="{FF2B5EF4-FFF2-40B4-BE49-F238E27FC236}">
                <a16:creationId xmlns:a16="http://schemas.microsoft.com/office/drawing/2014/main" id="{6F6D7778-F272-4F12-ADD2-8AE6FF10DDDC}"/>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4" name="Classification">
            <a:extLst>
              <a:ext uri="{FF2B5EF4-FFF2-40B4-BE49-F238E27FC236}">
                <a16:creationId xmlns:a16="http://schemas.microsoft.com/office/drawing/2014/main" id="{4950D02E-DEA7-4F24-8212-FEEF73ED9421}"/>
              </a:ext>
            </a:extLst>
          </p:cNvPr>
          <p:cNvSpPr txBox="1"/>
          <p:nvPr userDrawn="1"/>
        </p:nvSpPr>
        <p:spPr bwMode="black">
          <a:xfrm>
            <a:off x="2814655" y="6559834"/>
            <a:ext cx="381515"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INTERNAL</a:t>
            </a:r>
          </a:p>
        </p:txBody>
      </p:sp>
      <p:sp>
        <p:nvSpPr>
          <p:cNvPr id="15" name="Copyright">
            <a:extLst>
              <a:ext uri="{FF2B5EF4-FFF2-40B4-BE49-F238E27FC236}">
                <a16:creationId xmlns:a16="http://schemas.microsoft.com/office/drawing/2014/main" id="{A507F817-5D47-4500-8930-FF4D058FA111}"/>
              </a:ext>
            </a:extLst>
          </p:cNvPr>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4 SAP SE or an SAP affiliate company. All rights reserved.  </a:t>
            </a:r>
            <a:r>
              <a:rPr kumimoji="0" lang="en-US" sz="600" b="0" i="0" u="none" kern="0" baseline="0" err="1">
                <a:solidFill>
                  <a:schemeClr val="tx1"/>
                </a:solidFill>
                <a:latin typeface="Arial"/>
                <a:ea typeface="Arial Unicode MS"/>
                <a:cs typeface="Arial Unicode MS" pitchFamily="34" charset="-128"/>
                <a:sym typeface="Arial"/>
              </a:rPr>
              <a:t>ǀ</a:t>
            </a:r>
            <a:endParaRPr kumimoji="0" lang="en-US" sz="600" b="0" i="0" u="none" kern="0" baseline="0">
              <a:solidFill>
                <a:schemeClr val="tx1"/>
              </a:solidFill>
              <a:latin typeface="Arial"/>
              <a:ea typeface="Arial Unicode MS"/>
              <a:cs typeface="Arial Unicode MS" pitchFamily="34" charset="-128"/>
              <a:sym typeface="Arial"/>
            </a:endParaRPr>
          </a:p>
        </p:txBody>
      </p:sp>
    </p:spTree>
    <p:extLst>
      <p:ext uri="{BB962C8B-B14F-4D97-AF65-F5344CB8AC3E}">
        <p14:creationId xmlns:p14="http://schemas.microsoft.com/office/powerpoint/2010/main" val="2833729352"/>
      </p:ext>
    </p:extLst>
  </p:cSld>
  <p:clrMap bg1="dk1" tx1="lt1" bg2="dk2" tx2="lt2" accent1="accent1" accent2="accent2" accent3="accent3" accent4="accent4" accent5="accent5" accent6="accent6" hlink="hlink" folHlink="folHlink"/>
  <p:sldLayoutIdLst>
    <p:sldLayoutId id="2147483782" r:id="rId1"/>
    <p:sldLayoutId id="2147483783" r:id="rId2"/>
    <p:sldLayoutId id="2147483784" r:id="rId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2" name="think-cell data - do not delete" hidden="1">
            <a:extLst>
              <a:ext uri="{FF2B5EF4-FFF2-40B4-BE49-F238E27FC236}">
                <a16:creationId xmlns:a16="http://schemas.microsoft.com/office/drawing/2014/main" id="{70BA4827-E486-6702-6FCB-8CA580FEC169}"/>
              </a:ext>
            </a:extLst>
          </p:cNvPr>
          <p:cNvGraphicFramePr>
            <a:graphicFrameLocks noChangeAspect="1"/>
          </p:cNvGraphicFramePr>
          <p:nvPr userDrawn="1">
            <p:custDataLst>
              <p:tags r:id="rId60"/>
            </p:custDataLst>
            <p:extLst>
              <p:ext uri="{D42A27DB-BD31-4B8C-83A1-F6EECF244321}">
                <p14:modId xmlns:p14="http://schemas.microsoft.com/office/powerpoint/2010/main" val="2357829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4" imgW="404" imgH="405" progId="TCLayout.ActiveDocument.1">
                  <p:embed/>
                </p:oleObj>
              </mc:Choice>
              <mc:Fallback>
                <p:oleObj name="think-cell Slide" r:id="rId184" imgW="404" imgH="405" progId="TCLayout.ActiveDocument.1">
                  <p:embed/>
                  <p:pic>
                    <p:nvPicPr>
                      <p:cNvPr id="142" name="think-cell data - do not delete" hidden="1">
                        <a:extLst>
                          <a:ext uri="{FF2B5EF4-FFF2-40B4-BE49-F238E27FC236}">
                            <a16:creationId xmlns:a16="http://schemas.microsoft.com/office/drawing/2014/main" id="{70BA4827-E486-6702-6FCB-8CA580FEC169}"/>
                          </a:ext>
                        </a:extLst>
                      </p:cNvPr>
                      <p:cNvPicPr/>
                      <p:nvPr/>
                    </p:nvPicPr>
                    <p:blipFill>
                      <a:blip r:embed="rId185"/>
                      <a:stretch>
                        <a:fillRect/>
                      </a:stretch>
                    </p:blipFill>
                    <p:spPr>
                      <a:xfrm>
                        <a:off x="1588" y="1588"/>
                        <a:ext cx="1588" cy="1588"/>
                      </a:xfrm>
                      <a:prstGeom prst="rect">
                        <a:avLst/>
                      </a:prstGeom>
                    </p:spPr>
                  </p:pic>
                </p:oleObj>
              </mc:Fallback>
            </mc:AlternateContent>
          </a:graphicData>
        </a:graphic>
      </p:graphicFrame>
      <p:sp>
        <p:nvSpPr>
          <p:cNvPr id="4" name="Background">
            <a:extLst>
              <a:ext uri="{FF2B5EF4-FFF2-40B4-BE49-F238E27FC236}">
                <a16:creationId xmlns:a16="http://schemas.microsoft.com/office/drawing/2014/main" id="{57293E41-954C-9E9C-7DE2-32FEDBD5A1C6}"/>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12" name="Copyright Placeholder" descr="{&quot;templafy&quot;:{&quot;id&quot;:&quot;1edb8a88-2ca6-4c07-aa64-e8667b4f7ead&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endParaRPr lang="en-US" sz="600" b="0" i="0">
              <a:latin typeface="Arial" panose="020B0604020202020204" pitchFamily="34" charset="0"/>
            </a:endParaRP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61"/>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8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81"/>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82"/>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83"/>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62"/>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75"/>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76"/>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77"/>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78"/>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79"/>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63"/>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66"/>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67"/>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6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69"/>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7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71"/>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72"/>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73"/>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7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64"/>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65"/>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38"/>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39"/>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40"/>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41"/>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42"/>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43"/>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44"/>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45"/>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46"/>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47"/>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48"/>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49"/>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50"/>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51"/>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52"/>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53"/>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54"/>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55"/>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56"/>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57"/>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58"/>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59"/>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60"/>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61"/>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62"/>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63"/>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64"/>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65"/>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71105" y="896931"/>
            <a:ext cx="2124070" cy="59540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Responsib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Tree>
    <p:extLst>
      <p:ext uri="{BB962C8B-B14F-4D97-AF65-F5344CB8AC3E}">
        <p14:creationId xmlns:p14="http://schemas.microsoft.com/office/powerpoint/2010/main" val="3938009346"/>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 id="2147483824" r:id="rId14"/>
    <p:sldLayoutId id="2147483825" r:id="rId15"/>
    <p:sldLayoutId id="2147483826" r:id="rId16"/>
    <p:sldLayoutId id="2147483827" r:id="rId17"/>
    <p:sldLayoutId id="2147483828" r:id="rId18"/>
    <p:sldLayoutId id="2147483829" r:id="rId19"/>
    <p:sldLayoutId id="2147483830" r:id="rId20"/>
    <p:sldLayoutId id="2147483831" r:id="rId21"/>
    <p:sldLayoutId id="2147483832" r:id="rId22"/>
    <p:sldLayoutId id="2147483833" r:id="rId23"/>
    <p:sldLayoutId id="2147483834" r:id="rId24"/>
    <p:sldLayoutId id="2147483835" r:id="rId25"/>
    <p:sldLayoutId id="2147483836" r:id="rId26"/>
    <p:sldLayoutId id="2147483837" r:id="rId27"/>
    <p:sldLayoutId id="2147483838" r:id="rId28"/>
    <p:sldLayoutId id="2147483839" r:id="rId29"/>
    <p:sldLayoutId id="2147483840" r:id="rId30"/>
    <p:sldLayoutId id="2147483841" r:id="rId31"/>
    <p:sldLayoutId id="2147483842" r:id="rId32"/>
    <p:sldLayoutId id="2147483843" r:id="rId33"/>
    <p:sldLayoutId id="2147483844" r:id="rId34"/>
    <p:sldLayoutId id="2147483845" r:id="rId35"/>
    <p:sldLayoutId id="2147483846" r:id="rId36"/>
    <p:sldLayoutId id="2147483847" r:id="rId37"/>
    <p:sldLayoutId id="2147483848" r:id="rId38"/>
    <p:sldLayoutId id="2147483849" r:id="rId39"/>
    <p:sldLayoutId id="2147483850" r:id="rId40"/>
    <p:sldLayoutId id="2147483851" r:id="rId41"/>
    <p:sldLayoutId id="2147483852" r:id="rId42"/>
    <p:sldLayoutId id="2147483853" r:id="rId43"/>
    <p:sldLayoutId id="2147483854" r:id="rId44"/>
    <p:sldLayoutId id="2147483855" r:id="rId45"/>
    <p:sldLayoutId id="2147483856" r:id="rId46"/>
    <p:sldLayoutId id="2147483857" r:id="rId47"/>
    <p:sldLayoutId id="2147483858" r:id="rId48"/>
    <p:sldLayoutId id="2147483859" r:id="rId49"/>
    <p:sldLayoutId id="2147483860" r:id="rId50"/>
    <p:sldLayoutId id="2147483861" r:id="rId51"/>
    <p:sldLayoutId id="2147483862" r:id="rId52"/>
    <p:sldLayoutId id="2147483863" r:id="rId53"/>
    <p:sldLayoutId id="2147483864" r:id="rId54"/>
    <p:sldLayoutId id="2147483865" r:id="rId55"/>
    <p:sldLayoutId id="2147483866" r:id="rId56"/>
    <p:sldLayoutId id="2147483867" r:id="rId57"/>
    <p:sldLayoutId id="2147483868" r:id="rId58"/>
  </p:sldLayoutIdLst>
  <p:hf hdr="0" ftr="0" dt="0"/>
  <p:txStyles>
    <p:title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p:titleStyle>
    <p:bodyStyle>
      <a:lvl1pPr marL="0" indent="0" algn="l" defTabSz="1088558" rtl="0" eaLnBrk="1" latinLnBrk="0" hangingPunct="1">
        <a:spcBef>
          <a:spcPts val="1800"/>
        </a:spcBef>
        <a:buClrTx/>
        <a:buSzPct val="10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hyperlink" Target="https://kubernetes.io/" TargetMode="External"/><Relationship Id="rId7" Type="http://schemas.openxmlformats.org/officeDocument/2006/relationships/hyperlink" Target="https://wiki.one.int.sap/wiki/display/technicalservices/Kernel+Service+Approval+Process+and+Criteria+List?preview=/2473857789/2488173215/CatS.PNG" TargetMode="External"/><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hyperlink" Target="https://pages.github.tools.sap/kernelservices/services/unified-gateway" TargetMode="External"/><Relationship Id="rId5" Type="http://schemas.openxmlformats.org/officeDocument/2006/relationships/hyperlink" Target="https://gateway.envoyproxy.io/" TargetMode="External"/><Relationship Id="rId4" Type="http://schemas.openxmlformats.org/officeDocument/2006/relationships/hyperlink" Target="https://gardener.cloud/"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hyperlink" Target="https://sap.sharepoint.com/:b:/t/CPAIntegration/EcAOrAUhWFJGlD72Om0pDYkBep78RV-MOfo8YMERnD3s_g?e=vGsxP4" TargetMode="External"/><Relationship Id="rId7" Type="http://schemas.openxmlformats.org/officeDocument/2006/relationships/image" Target="../media/image31.sv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30.png"/><Relationship Id="rId5" Type="http://schemas.openxmlformats.org/officeDocument/2006/relationships/hyperlink" Target="https://pages.github.tools.sap/unified-gateway/main_features/tls_termination/" TargetMode="External"/><Relationship Id="rId4" Type="http://schemas.openxmlformats.org/officeDocument/2006/relationships/hyperlink" Target="https://pages.github.tools.sap/unified-gateway/main_features/dns_management_in_the_ugw/"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sap.sharepoint.com/:b:/r/teams/CPAIntegration/Shared%20Documents/CPA%20APIs%20and%20Events/50_ADRs/Unified%20Gateway%20Rate%20Limiting.pdf?csf=1&amp;web=1&amp;e=4M1JIx" TargetMode="External"/><Relationship Id="rId7" Type="http://schemas.openxmlformats.org/officeDocument/2006/relationships/image" Target="../media/image33.emf"/><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hyperlink" Target="https://pages.github.tools.sap/unified-gateway/main_features/ratelimiting/" TargetMode="External"/></Relationships>
</file>

<file path=ppt/slides/_rels/slide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hyperlink" Target="https://github.com/envoyproxy/envoy/issues/39174" TargetMode="External"/><Relationship Id="rId2" Type="http://schemas.openxmlformats.org/officeDocument/2006/relationships/hyperlink" Target="https://aigateway.envoyproxy.io/docs/capabilities/" TargetMode="Externa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hyperlink" Target="https://pages.github.tools.sap/unified-resource-manager/docs/concepts/overview/resource_api/" TargetMode="External"/><Relationship Id="rId2" Type="http://schemas.openxmlformats.org/officeDocument/2006/relationships/hyperlink" Target="https://pages.github.tools.sap/atom-cfs/atom-docs/docs/atom-tools/atomctl/" TargetMode="External"/><Relationship Id="rId1" Type="http://schemas.openxmlformats.org/officeDocument/2006/relationships/slideLayout" Target="../slideLayouts/slideLayout9.xml"/><Relationship Id="rId5" Type="http://schemas.openxmlformats.org/officeDocument/2006/relationships/image" Target="../media/image37.png"/><Relationship Id="rId4" Type="http://schemas.openxmlformats.org/officeDocument/2006/relationships/hyperlink" Target="https://pages.github.tools.sap/atom-cfs/atom-docs/docs/atom-tools/workspace/"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8" Type="http://schemas.openxmlformats.org/officeDocument/2006/relationships/hyperlink" Target="https://teams.microsoft.com/l/channel/19%3A52a3c06e341043779b43a15777cce870%40thread.tacv2/%F0%9F%93%A3%20Unified%20Gateway%20Support%20Forum%20?groupId=c86a6370-1ea1-47ee-baa4-8de6156a781a&amp;tenantId=42f7676c-f455-423c-82f6-dc2d99791af7" TargetMode="External"/><Relationship Id="rId3" Type="http://schemas.openxmlformats.org/officeDocument/2006/relationships/hyperlink" Target="https://pages.github.tools.sap/unified-gateway/cf_onboarding/quick_poc/" TargetMode="External"/><Relationship Id="rId7" Type="http://schemas.openxmlformats.org/officeDocument/2006/relationships/hyperlink" Target="https://pages.github.tools.sap/unified-gateway/cf_onboarding/splunk/" TargetMode="External"/><Relationship Id="rId2" Type="http://schemas.openxmlformats.org/officeDocument/2006/relationships/hyperlink" Target="https://pages.github.tools.sap/unified-gateway/cf_onboarding/sample_app/" TargetMode="External"/><Relationship Id="rId1" Type="http://schemas.openxmlformats.org/officeDocument/2006/relationships/slideLayout" Target="../slideLayouts/slideLayout9.xml"/><Relationship Id="rId6" Type="http://schemas.openxmlformats.org/officeDocument/2006/relationships/hyperlink" Target="https://pages.github.tools.sap/unified-gateway/cf_onboarding/helm_urm/" TargetMode="External"/><Relationship Id="rId5" Type="http://schemas.openxmlformats.org/officeDocument/2006/relationships/hyperlink" Target="https://pages.github.tools.sap/unified-gateway/cf_onboarding/cf_use_ci/" TargetMode="External"/><Relationship Id="rId4" Type="http://schemas.openxmlformats.org/officeDocument/2006/relationships/hyperlink" Target="https://pages.github.tools.sap/unified-gateway/cf_onboarding/go_live/"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hyperlink" Target="https://github.tools.sap/CentralEngineering/TechnologyGuidelines/tree/main/tg45"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https://github.tools.sap/CentralEngineering/TechnologyGuidelines/tree/master/tg45"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hyperlink" Target="https://pages.github.tools.sap/unified-gateway/main_features/" TargetMode="External"/><Relationship Id="rId5" Type="http://schemas.openxmlformats.org/officeDocument/2006/relationships/slide" Target="slide9.xml"/><Relationship Id="rId4" Type="http://schemas.openxmlformats.org/officeDocument/2006/relationships/slide" Target="slide8.xml"/></Relationships>
</file>

<file path=ppt/slides/_rels/slide7.xml.rels><?xml version="1.0" encoding="UTF-8" standalone="yes"?>
<Relationships xmlns="http://schemas.openxmlformats.org/package/2006/relationships"><Relationship Id="rId3" Type="http://schemas.openxmlformats.org/officeDocument/2006/relationships/hyperlink" Target="https://letsencrypt.org/" TargetMode="External"/><Relationship Id="rId2" Type="http://schemas.openxmlformats.org/officeDocument/2006/relationships/hyperlink" Target="https://www.digicert.com/" TargetMode="External"/><Relationship Id="rId1" Type="http://schemas.openxmlformats.org/officeDocument/2006/relationships/slideLayout" Target="../slideLayouts/slideLayout9.xml"/><Relationship Id="rId4" Type="http://schemas.openxmlformats.org/officeDocument/2006/relationships/slide" Target="slide6.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9.xml"/><Relationship Id="rId4" Type="http://schemas.openxmlformats.org/officeDocument/2006/relationships/slide" Target="slide6.xml"/></Relationships>
</file>

<file path=ppt/slides/_rels/slide9.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Layout" Target="../slideLayouts/slideLayout9.xml"/><Relationship Id="rId1" Type="http://schemas.openxmlformats.org/officeDocument/2006/relationships/themeOverride" Target="../theme/themeOverr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resentation Title"/>
          <p:cNvSpPr>
            <a:spLocks noGrp="1"/>
          </p:cNvSpPr>
          <p:nvPr>
            <p:ph type="title"/>
          </p:nvPr>
        </p:nvSpPr>
        <p:spPr bwMode="gray">
          <a:xfrm>
            <a:off x="288000" y="4024430"/>
            <a:ext cx="10899174" cy="997196"/>
          </a:xfrm>
        </p:spPr>
        <p:txBody>
          <a:bodyPr/>
          <a:lstStyle/>
          <a:p>
            <a:r>
              <a:rPr lang="en-US">
                <a:solidFill>
                  <a:schemeClr val="accent1"/>
                </a:solidFill>
              </a:rPr>
              <a:t>Unified Gateway </a:t>
            </a:r>
            <a:br>
              <a:rPr lang="en-US">
                <a:solidFill>
                  <a:schemeClr val="accent1"/>
                </a:solidFill>
              </a:rPr>
            </a:br>
            <a:r>
              <a:rPr lang="en-US" sz="2800">
                <a:solidFill>
                  <a:schemeClr val="accent4">
                    <a:lumMod val="40000"/>
                    <a:lumOff val="60000"/>
                  </a:schemeClr>
                </a:solidFill>
              </a:rPr>
              <a:t>Overview March 2025</a:t>
            </a:r>
            <a:endParaRPr lang="en-US" b="0">
              <a:solidFill>
                <a:schemeClr val="accent4">
                  <a:lumMod val="40000"/>
                  <a:lumOff val="60000"/>
                </a:schemeClr>
              </a:solidFill>
            </a:endParaRPr>
          </a:p>
        </p:txBody>
      </p:sp>
      <p:pic>
        <p:nvPicPr>
          <p:cNvPr id="4" name="Picture 3">
            <a:extLst>
              <a:ext uri="{FF2B5EF4-FFF2-40B4-BE49-F238E27FC236}">
                <a16:creationId xmlns:a16="http://schemas.microsoft.com/office/drawing/2014/main" id="{20B4BD30-8213-2447-9A9A-A32B766C0EE6}"/>
              </a:ext>
            </a:extLst>
          </p:cNvPr>
          <p:cNvPicPr>
            <a:picLocks noChangeAspect="1"/>
          </p:cNvPicPr>
          <p:nvPr/>
        </p:nvPicPr>
        <p:blipFill rotWithShape="1">
          <a:blip r:embed="rId3"/>
          <a:srcRect t="15723" b="39734"/>
          <a:stretch/>
        </p:blipFill>
        <p:spPr>
          <a:xfrm>
            <a:off x="0" y="0"/>
            <a:ext cx="12195175" cy="3624650"/>
          </a:xfrm>
          <a:prstGeom prst="rect">
            <a:avLst/>
          </a:prstGeom>
        </p:spPr>
      </p:pic>
      <p:sp>
        <p:nvSpPr>
          <p:cNvPr id="6" name="Rectangle 5">
            <a:extLst>
              <a:ext uri="{FF2B5EF4-FFF2-40B4-BE49-F238E27FC236}">
                <a16:creationId xmlns:a16="http://schemas.microsoft.com/office/drawing/2014/main" id="{B83FBBFA-C7E2-0D49-B2C1-8E3A987406DE}"/>
              </a:ext>
            </a:extLst>
          </p:cNvPr>
          <p:cNvSpPr/>
          <p:nvPr/>
        </p:nvSpPr>
        <p:spPr>
          <a:xfrm>
            <a:off x="4343314" y="5421405"/>
            <a:ext cx="1192571" cy="461665"/>
          </a:xfrm>
          <a:prstGeom prst="rect">
            <a:avLst/>
          </a:prstGeom>
        </p:spPr>
        <p:txBody>
          <a:bodyPr wrap="none" lIns="0">
            <a:spAutoFit/>
          </a:bodyPr>
          <a:lstStyle/>
          <a:p>
            <a:r>
              <a:rPr lang="en-US" sz="1200"/>
              <a:t>Tamir Menahem</a:t>
            </a:r>
            <a:br>
              <a:rPr lang="en-US" sz="1200" b="1"/>
            </a:br>
            <a:r>
              <a:rPr lang="en-US" sz="1200" b="1"/>
              <a:t>UGW Architect</a:t>
            </a:r>
            <a:endParaRPr lang="en-US" sz="1200"/>
          </a:p>
        </p:txBody>
      </p:sp>
      <p:sp>
        <p:nvSpPr>
          <p:cNvPr id="9" name="Rectangle 8">
            <a:extLst>
              <a:ext uri="{FF2B5EF4-FFF2-40B4-BE49-F238E27FC236}">
                <a16:creationId xmlns:a16="http://schemas.microsoft.com/office/drawing/2014/main" id="{1C6AA48E-EC75-6E41-849A-40DA31024B7E}"/>
              </a:ext>
            </a:extLst>
          </p:cNvPr>
          <p:cNvSpPr/>
          <p:nvPr/>
        </p:nvSpPr>
        <p:spPr>
          <a:xfrm>
            <a:off x="2413654" y="5421405"/>
            <a:ext cx="953146" cy="461665"/>
          </a:xfrm>
          <a:prstGeom prst="rect">
            <a:avLst/>
          </a:prstGeom>
        </p:spPr>
        <p:txBody>
          <a:bodyPr wrap="none" lIns="0" tIns="45720" rIns="91440" bIns="45720" anchor="t">
            <a:spAutoFit/>
          </a:bodyPr>
          <a:lstStyle/>
          <a:p>
            <a:r>
              <a:rPr lang="en-US" sz="1200"/>
              <a:t>Ohad Navon</a:t>
            </a:r>
            <a:br>
              <a:rPr lang="en-US" sz="1200" b="1"/>
            </a:br>
            <a:r>
              <a:rPr lang="en-US" sz="1200" b="1"/>
              <a:t>UGW PO</a:t>
            </a:r>
            <a:endParaRPr lang="en-US" sz="1200">
              <a:cs typeface="Arial"/>
            </a:endParaRPr>
          </a:p>
        </p:txBody>
      </p:sp>
      <p:sp>
        <p:nvSpPr>
          <p:cNvPr id="7" name="Rectangle 6">
            <a:extLst>
              <a:ext uri="{FF2B5EF4-FFF2-40B4-BE49-F238E27FC236}">
                <a16:creationId xmlns:a16="http://schemas.microsoft.com/office/drawing/2014/main" id="{77B9FCD4-1A00-5F19-C84A-2E2871EF9096}"/>
              </a:ext>
            </a:extLst>
          </p:cNvPr>
          <p:cNvSpPr/>
          <p:nvPr/>
        </p:nvSpPr>
        <p:spPr>
          <a:xfrm>
            <a:off x="579147" y="5421405"/>
            <a:ext cx="845744" cy="461665"/>
          </a:xfrm>
          <a:prstGeom prst="rect">
            <a:avLst/>
          </a:prstGeom>
        </p:spPr>
        <p:txBody>
          <a:bodyPr wrap="none" lIns="0">
            <a:spAutoFit/>
          </a:bodyPr>
          <a:lstStyle/>
          <a:p>
            <a:r>
              <a:rPr lang="en-US" sz="1200"/>
              <a:t>Nir M Kol</a:t>
            </a:r>
            <a:br>
              <a:rPr lang="en-US" sz="1200" b="1"/>
            </a:br>
            <a:r>
              <a:rPr lang="en-US" sz="1200" b="1"/>
              <a:t>UGW CPO</a:t>
            </a:r>
            <a:endParaRPr lang="en-US" sz="1200"/>
          </a:p>
        </p:txBody>
      </p:sp>
      <p:sp>
        <p:nvSpPr>
          <p:cNvPr id="2" name="Rectangle 1">
            <a:extLst>
              <a:ext uri="{FF2B5EF4-FFF2-40B4-BE49-F238E27FC236}">
                <a16:creationId xmlns:a16="http://schemas.microsoft.com/office/drawing/2014/main" id="{520C38A3-B45F-A256-16DF-E95561E22F10}"/>
              </a:ext>
            </a:extLst>
          </p:cNvPr>
          <p:cNvSpPr/>
          <p:nvPr/>
        </p:nvSpPr>
        <p:spPr>
          <a:xfrm>
            <a:off x="6524649" y="5421405"/>
            <a:ext cx="2038635" cy="461665"/>
          </a:xfrm>
          <a:prstGeom prst="rect">
            <a:avLst/>
          </a:prstGeom>
        </p:spPr>
        <p:txBody>
          <a:bodyPr wrap="none" lIns="0">
            <a:spAutoFit/>
          </a:bodyPr>
          <a:lstStyle/>
          <a:p>
            <a:r>
              <a:rPr lang="en-US" sz="1200"/>
              <a:t>Raya Koren and Yarin Israeli</a:t>
            </a:r>
            <a:br>
              <a:rPr lang="en-US" sz="1200" b="1"/>
            </a:br>
            <a:r>
              <a:rPr lang="en-US" sz="1200" b="1"/>
              <a:t>UGW Enablement</a:t>
            </a:r>
            <a:endParaRPr lang="en-US" sz="1200"/>
          </a:p>
        </p:txBody>
      </p:sp>
    </p:spTree>
    <p:extLst>
      <p:ext uri="{BB962C8B-B14F-4D97-AF65-F5344CB8AC3E}">
        <p14:creationId xmlns:p14="http://schemas.microsoft.com/office/powerpoint/2010/main" val="37295724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75EA6310-4497-C247-366A-C1AB8EC75CCE}"/>
              </a:ext>
            </a:extLst>
          </p:cNvPr>
          <p:cNvSpPr/>
          <p:nvPr/>
        </p:nvSpPr>
        <p:spPr>
          <a:xfrm>
            <a:off x="990126" y="1369325"/>
            <a:ext cx="3396521" cy="4390347"/>
          </a:xfrm>
          <a:custGeom>
            <a:avLst/>
            <a:gdLst>
              <a:gd name="connsiteX0" fmla="*/ 0 w 3396521"/>
              <a:gd name="connsiteY0" fmla="*/ 339652 h 4399872"/>
              <a:gd name="connsiteX1" fmla="*/ 339652 w 3396521"/>
              <a:gd name="connsiteY1" fmla="*/ 0 h 4399872"/>
              <a:gd name="connsiteX2" fmla="*/ 3056869 w 3396521"/>
              <a:gd name="connsiteY2" fmla="*/ 0 h 4399872"/>
              <a:gd name="connsiteX3" fmla="*/ 3396521 w 3396521"/>
              <a:gd name="connsiteY3" fmla="*/ 339652 h 4399872"/>
              <a:gd name="connsiteX4" fmla="*/ 3396521 w 3396521"/>
              <a:gd name="connsiteY4" fmla="*/ 4060220 h 4399872"/>
              <a:gd name="connsiteX5" fmla="*/ 3056869 w 3396521"/>
              <a:gd name="connsiteY5" fmla="*/ 4399872 h 4399872"/>
              <a:gd name="connsiteX6" fmla="*/ 339652 w 3396521"/>
              <a:gd name="connsiteY6" fmla="*/ 4399872 h 4399872"/>
              <a:gd name="connsiteX7" fmla="*/ 0 w 3396521"/>
              <a:gd name="connsiteY7" fmla="*/ 4060220 h 4399872"/>
              <a:gd name="connsiteX8" fmla="*/ 0 w 3396521"/>
              <a:gd name="connsiteY8" fmla="*/ 339652 h 439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6521" h="4399872">
                <a:moveTo>
                  <a:pt x="0" y="339652"/>
                </a:moveTo>
                <a:cubicBezTo>
                  <a:pt x="0" y="152067"/>
                  <a:pt x="152067" y="0"/>
                  <a:pt x="339652" y="0"/>
                </a:cubicBezTo>
                <a:lnTo>
                  <a:pt x="3056869" y="0"/>
                </a:lnTo>
                <a:cubicBezTo>
                  <a:pt x="3244454" y="0"/>
                  <a:pt x="3396521" y="152067"/>
                  <a:pt x="3396521" y="339652"/>
                </a:cubicBezTo>
                <a:lnTo>
                  <a:pt x="3396521" y="4060220"/>
                </a:lnTo>
                <a:cubicBezTo>
                  <a:pt x="3396521" y="4247805"/>
                  <a:pt x="3244454" y="4399872"/>
                  <a:pt x="3056869" y="4399872"/>
                </a:cubicBezTo>
                <a:lnTo>
                  <a:pt x="339652" y="4399872"/>
                </a:lnTo>
                <a:cubicBezTo>
                  <a:pt x="152067" y="4399872"/>
                  <a:pt x="0" y="4247805"/>
                  <a:pt x="0" y="4060220"/>
                </a:cubicBezTo>
                <a:lnTo>
                  <a:pt x="0" y="339652"/>
                </a:lnTo>
                <a:close/>
              </a:path>
            </a:pathLst>
          </a:custGeom>
          <a:solidFill>
            <a:srgbClr val="E5EDF7"/>
          </a:solidFill>
          <a:ln w="76200">
            <a:solidFill>
              <a:srgbClr val="DEEBF7"/>
            </a:solidFill>
          </a:ln>
        </p:spPr>
        <p:style>
          <a:lnRef idx="0">
            <a:scrgbClr r="0" g="0" b="0"/>
          </a:lnRef>
          <a:fillRef idx="1">
            <a:scrgbClr r="0" g="0" b="0"/>
          </a:fillRef>
          <a:effectRef idx="0">
            <a:schemeClr val="accent3">
              <a:tint val="40000"/>
              <a:hueOff val="0"/>
              <a:satOff val="0"/>
              <a:lumOff val="0"/>
              <a:alphaOff val="0"/>
            </a:schemeClr>
          </a:effectRef>
          <a:fontRef idx="minor">
            <a:schemeClr val="dk1">
              <a:hueOff val="0"/>
              <a:satOff val="0"/>
              <a:lumOff val="0"/>
              <a:alphaOff val="0"/>
            </a:schemeClr>
          </a:fontRef>
        </p:style>
        <p:txBody>
          <a:bodyPr spcFirstLastPara="0" vert="horz" wrap="square" lIns="68580" tIns="68580" rIns="68580" bIns="3148491" numCol="1" spcCol="1270" anchor="ctr" anchorCtr="0">
            <a:noAutofit/>
          </a:bodyPr>
          <a:lstStyle/>
          <a:p>
            <a:pPr marL="0" lvl="0" indent="0" algn="ctr" defTabSz="800100">
              <a:lnSpc>
                <a:spcPct val="90000"/>
              </a:lnSpc>
              <a:spcBef>
                <a:spcPct val="0"/>
              </a:spcBef>
              <a:spcAft>
                <a:spcPct val="35000"/>
              </a:spcAft>
              <a:buNone/>
            </a:pPr>
            <a:r>
              <a:rPr lang="en-US" sz="1800" b="1" kern="1200"/>
              <a:t>Traffic Managemen</a:t>
            </a:r>
            <a:r>
              <a:rPr lang="en-US" sz="1800" b="1"/>
              <a:t>t</a:t>
            </a:r>
            <a:r>
              <a:rPr lang="en-US" sz="1800" b="1" kern="1200"/>
              <a:t> and </a:t>
            </a:r>
            <a:r>
              <a:rPr lang="en-US" sz="1800" b="1" kern="1200">
                <a:solidFill>
                  <a:schemeClr val="tx1"/>
                </a:solidFill>
              </a:rPr>
              <a:t>O</a:t>
            </a:r>
            <a:r>
              <a:rPr lang="en-US" sz="1800" b="1" kern="1200"/>
              <a:t>ptimization</a:t>
            </a:r>
          </a:p>
        </p:txBody>
      </p:sp>
      <p:sp>
        <p:nvSpPr>
          <p:cNvPr id="7" name="Freeform: Shape 6">
            <a:extLst>
              <a:ext uri="{FF2B5EF4-FFF2-40B4-BE49-F238E27FC236}">
                <a16:creationId xmlns:a16="http://schemas.microsoft.com/office/drawing/2014/main" id="{3AFF62F0-499D-C326-8742-CE358D2B7107}"/>
              </a:ext>
            </a:extLst>
          </p:cNvPr>
          <p:cNvSpPr/>
          <p:nvPr/>
        </p:nvSpPr>
        <p:spPr>
          <a:xfrm>
            <a:off x="1233981" y="2630447"/>
            <a:ext cx="1332000" cy="421200"/>
          </a:xfrm>
          <a:custGeom>
            <a:avLst/>
            <a:gdLst>
              <a:gd name="connsiteX0" fmla="*/ 0 w 893393"/>
              <a:gd name="connsiteY0" fmla="*/ 38414 h 384144"/>
              <a:gd name="connsiteX1" fmla="*/ 38414 w 893393"/>
              <a:gd name="connsiteY1" fmla="*/ 0 h 384144"/>
              <a:gd name="connsiteX2" fmla="*/ 854979 w 893393"/>
              <a:gd name="connsiteY2" fmla="*/ 0 h 384144"/>
              <a:gd name="connsiteX3" fmla="*/ 893393 w 893393"/>
              <a:gd name="connsiteY3" fmla="*/ 38414 h 384144"/>
              <a:gd name="connsiteX4" fmla="*/ 893393 w 893393"/>
              <a:gd name="connsiteY4" fmla="*/ 345730 h 384144"/>
              <a:gd name="connsiteX5" fmla="*/ 854979 w 893393"/>
              <a:gd name="connsiteY5" fmla="*/ 384144 h 384144"/>
              <a:gd name="connsiteX6" fmla="*/ 38414 w 893393"/>
              <a:gd name="connsiteY6" fmla="*/ 384144 h 384144"/>
              <a:gd name="connsiteX7" fmla="*/ 0 w 893393"/>
              <a:gd name="connsiteY7" fmla="*/ 345730 h 384144"/>
              <a:gd name="connsiteX8" fmla="*/ 0 w 893393"/>
              <a:gd name="connsiteY8" fmla="*/ 38414 h 3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393" h="384144">
                <a:moveTo>
                  <a:pt x="0" y="38414"/>
                </a:moveTo>
                <a:cubicBezTo>
                  <a:pt x="0" y="17199"/>
                  <a:pt x="17199" y="0"/>
                  <a:pt x="38414" y="0"/>
                </a:cubicBezTo>
                <a:lnTo>
                  <a:pt x="854979" y="0"/>
                </a:lnTo>
                <a:cubicBezTo>
                  <a:pt x="876194" y="0"/>
                  <a:pt x="893393" y="17199"/>
                  <a:pt x="893393" y="38414"/>
                </a:cubicBezTo>
                <a:lnTo>
                  <a:pt x="893393" y="345730"/>
                </a:lnTo>
                <a:cubicBezTo>
                  <a:pt x="893393" y="366945"/>
                  <a:pt x="876194" y="384144"/>
                  <a:pt x="854979" y="384144"/>
                </a:cubicBezTo>
                <a:lnTo>
                  <a:pt x="38414" y="384144"/>
                </a:lnTo>
                <a:cubicBezTo>
                  <a:pt x="17199" y="384144"/>
                  <a:pt x="0" y="366945"/>
                  <a:pt x="0" y="345730"/>
                </a:cubicBezTo>
                <a:lnTo>
                  <a:pt x="0" y="38414"/>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marL="0" lvl="0" indent="0" algn="ctr" defTabSz="466725">
              <a:lnSpc>
                <a:spcPct val="90000"/>
              </a:lnSpc>
              <a:spcBef>
                <a:spcPct val="0"/>
              </a:spcBef>
              <a:spcAft>
                <a:spcPct val="35000"/>
              </a:spcAft>
              <a:buClr>
                <a:srgbClr val="F0AB00"/>
              </a:buClr>
              <a:buSzPct val="100000"/>
              <a:buFont typeface="Wingdings" pitchFamily="2" charset="2"/>
              <a:buNone/>
            </a:pPr>
            <a:r>
              <a:rPr kumimoji="0" lang="en-US" sz="1050" i="0" u="none" strike="noStrike" kern="1200" cap="none" spc="0" normalizeH="0" baseline="0" noProof="0">
                <a:ln/>
                <a:effectLst/>
                <a:uLnTx/>
                <a:uFillTx/>
                <a:latin typeface="Arial"/>
                <a:ea typeface="+mn-ea"/>
                <a:cs typeface="+mn-cs"/>
              </a:rPr>
              <a:t>DNS Management</a:t>
            </a:r>
            <a:endParaRPr lang="en-US" sz="1050" kern="1200"/>
          </a:p>
        </p:txBody>
      </p:sp>
      <p:sp>
        <p:nvSpPr>
          <p:cNvPr id="9" name="Freeform: Shape 8">
            <a:extLst>
              <a:ext uri="{FF2B5EF4-FFF2-40B4-BE49-F238E27FC236}">
                <a16:creationId xmlns:a16="http://schemas.microsoft.com/office/drawing/2014/main" id="{1BA6318A-3386-69ED-A650-D1250EB06295}"/>
              </a:ext>
            </a:extLst>
          </p:cNvPr>
          <p:cNvSpPr/>
          <p:nvPr/>
        </p:nvSpPr>
        <p:spPr>
          <a:xfrm>
            <a:off x="2762415" y="4617759"/>
            <a:ext cx="1332000" cy="421200"/>
          </a:xfrm>
          <a:custGeom>
            <a:avLst/>
            <a:gdLst>
              <a:gd name="connsiteX0" fmla="*/ 0 w 2717217"/>
              <a:gd name="connsiteY0" fmla="*/ 64800 h 647999"/>
              <a:gd name="connsiteX1" fmla="*/ 64800 w 2717217"/>
              <a:gd name="connsiteY1" fmla="*/ 0 h 647999"/>
              <a:gd name="connsiteX2" fmla="*/ 2652417 w 2717217"/>
              <a:gd name="connsiteY2" fmla="*/ 0 h 647999"/>
              <a:gd name="connsiteX3" fmla="*/ 2717217 w 2717217"/>
              <a:gd name="connsiteY3" fmla="*/ 64800 h 647999"/>
              <a:gd name="connsiteX4" fmla="*/ 2717217 w 2717217"/>
              <a:gd name="connsiteY4" fmla="*/ 583199 h 647999"/>
              <a:gd name="connsiteX5" fmla="*/ 2652417 w 2717217"/>
              <a:gd name="connsiteY5" fmla="*/ 647999 h 647999"/>
              <a:gd name="connsiteX6" fmla="*/ 64800 w 2717217"/>
              <a:gd name="connsiteY6" fmla="*/ 647999 h 647999"/>
              <a:gd name="connsiteX7" fmla="*/ 0 w 2717217"/>
              <a:gd name="connsiteY7" fmla="*/ 583199 h 647999"/>
              <a:gd name="connsiteX8" fmla="*/ 0 w 2717217"/>
              <a:gd name="connsiteY8" fmla="*/ 64800 h 64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647999">
                <a:moveTo>
                  <a:pt x="0" y="64800"/>
                </a:moveTo>
                <a:cubicBezTo>
                  <a:pt x="0" y="29012"/>
                  <a:pt x="29012" y="0"/>
                  <a:pt x="64800" y="0"/>
                </a:cubicBezTo>
                <a:lnTo>
                  <a:pt x="2652417" y="0"/>
                </a:lnTo>
                <a:cubicBezTo>
                  <a:pt x="2688205" y="0"/>
                  <a:pt x="2717217" y="29012"/>
                  <a:pt x="2717217" y="64800"/>
                </a:cubicBezTo>
                <a:lnTo>
                  <a:pt x="2717217" y="583199"/>
                </a:lnTo>
                <a:cubicBezTo>
                  <a:pt x="2717217" y="618987"/>
                  <a:pt x="2688205" y="647999"/>
                  <a:pt x="2652417" y="647999"/>
                </a:cubicBezTo>
                <a:lnTo>
                  <a:pt x="64800" y="647999"/>
                </a:lnTo>
                <a:cubicBezTo>
                  <a:pt x="29012" y="647999"/>
                  <a:pt x="0" y="618987"/>
                  <a:pt x="0" y="583199"/>
                </a:cubicBezTo>
                <a:lnTo>
                  <a:pt x="0" y="64800"/>
                </a:lnTo>
                <a:close/>
              </a:path>
            </a:pathLst>
          </a:custGeom>
          <a:solidFill>
            <a:srgbClr val="F0F5FA"/>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6000" tIns="45649" rIns="36000" bIns="45649" numCol="1" spcCol="1270" anchor="ctr" anchorCtr="0">
            <a:noAutofit/>
          </a:bodyPr>
          <a:lstStyle/>
          <a:p>
            <a:pPr marL="0" lvl="0" indent="0" algn="ctr" defTabSz="622300">
              <a:lnSpc>
                <a:spcPct val="90000"/>
              </a:lnSpc>
              <a:spcBef>
                <a:spcPct val="0"/>
              </a:spcBef>
              <a:spcAft>
                <a:spcPct val="35000"/>
              </a:spcAft>
              <a:buClr>
                <a:srgbClr val="F0AB00"/>
              </a:buClr>
              <a:buSzPct val="100000"/>
              <a:buFont typeface="Wingdings" pitchFamily="2" charset="2"/>
              <a:buNone/>
            </a:pPr>
            <a:r>
              <a:rPr lang="en-US" sz="900" b="0" kern="1200">
                <a:solidFill>
                  <a:schemeClr val="tx1"/>
                </a:solidFill>
              </a:rPr>
              <a:t>API Content optimization </a:t>
            </a:r>
            <a:br>
              <a:rPr lang="en-US" sz="900" b="0" kern="1200">
                <a:solidFill>
                  <a:schemeClr val="tx1"/>
                </a:solidFill>
              </a:rPr>
            </a:br>
            <a:r>
              <a:rPr lang="en-US" sz="700" b="0" kern="1200">
                <a:solidFill>
                  <a:schemeClr val="tx1"/>
                </a:solidFill>
              </a:rPr>
              <a:t>e.g. compression, traffic shaping</a:t>
            </a:r>
          </a:p>
        </p:txBody>
      </p:sp>
      <p:sp>
        <p:nvSpPr>
          <p:cNvPr id="10" name="Freeform: Shape 9">
            <a:extLst>
              <a:ext uri="{FF2B5EF4-FFF2-40B4-BE49-F238E27FC236}">
                <a16:creationId xmlns:a16="http://schemas.microsoft.com/office/drawing/2014/main" id="{54D3931E-B8B6-2D60-27D3-7D5D3FFC810A}"/>
              </a:ext>
            </a:extLst>
          </p:cNvPr>
          <p:cNvSpPr/>
          <p:nvPr/>
        </p:nvSpPr>
        <p:spPr>
          <a:xfrm>
            <a:off x="4641387" y="1369325"/>
            <a:ext cx="3396521" cy="4390347"/>
          </a:xfrm>
          <a:custGeom>
            <a:avLst/>
            <a:gdLst>
              <a:gd name="connsiteX0" fmla="*/ 0 w 3396521"/>
              <a:gd name="connsiteY0" fmla="*/ 339652 h 4399872"/>
              <a:gd name="connsiteX1" fmla="*/ 339652 w 3396521"/>
              <a:gd name="connsiteY1" fmla="*/ 0 h 4399872"/>
              <a:gd name="connsiteX2" fmla="*/ 3056869 w 3396521"/>
              <a:gd name="connsiteY2" fmla="*/ 0 h 4399872"/>
              <a:gd name="connsiteX3" fmla="*/ 3396521 w 3396521"/>
              <a:gd name="connsiteY3" fmla="*/ 339652 h 4399872"/>
              <a:gd name="connsiteX4" fmla="*/ 3396521 w 3396521"/>
              <a:gd name="connsiteY4" fmla="*/ 4060220 h 4399872"/>
              <a:gd name="connsiteX5" fmla="*/ 3056869 w 3396521"/>
              <a:gd name="connsiteY5" fmla="*/ 4399872 h 4399872"/>
              <a:gd name="connsiteX6" fmla="*/ 339652 w 3396521"/>
              <a:gd name="connsiteY6" fmla="*/ 4399872 h 4399872"/>
              <a:gd name="connsiteX7" fmla="*/ 0 w 3396521"/>
              <a:gd name="connsiteY7" fmla="*/ 4060220 h 4399872"/>
              <a:gd name="connsiteX8" fmla="*/ 0 w 3396521"/>
              <a:gd name="connsiteY8" fmla="*/ 339652 h 439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6521" h="4399872">
                <a:moveTo>
                  <a:pt x="0" y="339652"/>
                </a:moveTo>
                <a:cubicBezTo>
                  <a:pt x="0" y="152067"/>
                  <a:pt x="152067" y="0"/>
                  <a:pt x="339652" y="0"/>
                </a:cubicBezTo>
                <a:lnTo>
                  <a:pt x="3056869" y="0"/>
                </a:lnTo>
                <a:cubicBezTo>
                  <a:pt x="3244454" y="0"/>
                  <a:pt x="3396521" y="152067"/>
                  <a:pt x="3396521" y="339652"/>
                </a:cubicBezTo>
                <a:lnTo>
                  <a:pt x="3396521" y="4060220"/>
                </a:lnTo>
                <a:cubicBezTo>
                  <a:pt x="3396521" y="4247805"/>
                  <a:pt x="3244454" y="4399872"/>
                  <a:pt x="3056869" y="4399872"/>
                </a:cubicBezTo>
                <a:lnTo>
                  <a:pt x="339652" y="4399872"/>
                </a:lnTo>
                <a:cubicBezTo>
                  <a:pt x="152067" y="4399872"/>
                  <a:pt x="0" y="4247805"/>
                  <a:pt x="0" y="4060220"/>
                </a:cubicBezTo>
                <a:lnTo>
                  <a:pt x="0" y="339652"/>
                </a:lnTo>
                <a:close/>
              </a:path>
            </a:pathLst>
          </a:custGeom>
          <a:solidFill>
            <a:srgbClr val="E5EDF7"/>
          </a:solidFill>
          <a:ln w="76200">
            <a:solidFill>
              <a:srgbClr val="DEEBF7"/>
            </a:solidFill>
          </a:ln>
        </p:spPr>
        <p:style>
          <a:lnRef idx="0">
            <a:scrgbClr r="0" g="0" b="0"/>
          </a:lnRef>
          <a:fillRef idx="1">
            <a:scrgbClr r="0" g="0" b="0"/>
          </a:fillRef>
          <a:effectRef idx="0">
            <a:schemeClr val="accent3">
              <a:tint val="40000"/>
              <a:hueOff val="0"/>
              <a:satOff val="0"/>
              <a:lumOff val="0"/>
              <a:alphaOff val="0"/>
            </a:schemeClr>
          </a:effectRef>
          <a:fontRef idx="minor">
            <a:schemeClr val="dk1">
              <a:hueOff val="0"/>
              <a:satOff val="0"/>
              <a:lumOff val="0"/>
              <a:alphaOff val="0"/>
            </a:schemeClr>
          </a:fontRef>
        </p:style>
        <p:txBody>
          <a:bodyPr spcFirstLastPara="0" vert="horz" wrap="square" lIns="68580" tIns="68580" rIns="68580" bIns="3148491" numCol="1" spcCol="1270" anchor="ctr" anchorCtr="0">
            <a:noAutofit/>
          </a:bodyPr>
          <a:lstStyle/>
          <a:p>
            <a:pPr marL="0" lvl="0" indent="0" algn="ctr" defTabSz="800100">
              <a:lnSpc>
                <a:spcPct val="90000"/>
              </a:lnSpc>
              <a:spcBef>
                <a:spcPct val="0"/>
              </a:spcBef>
              <a:spcAft>
                <a:spcPct val="35000"/>
              </a:spcAft>
              <a:buNone/>
            </a:pPr>
            <a:r>
              <a:rPr lang="en-US" sz="1800" b="1"/>
              <a:t>Traffic Monitoring &amp; </a:t>
            </a:r>
            <a:r>
              <a:rPr lang="en-US" sz="1800" b="1" kern="1200"/>
              <a:t>Observability</a:t>
            </a:r>
          </a:p>
        </p:txBody>
      </p:sp>
      <p:sp>
        <p:nvSpPr>
          <p:cNvPr id="11" name="Freeform: Shape 10">
            <a:extLst>
              <a:ext uri="{FF2B5EF4-FFF2-40B4-BE49-F238E27FC236}">
                <a16:creationId xmlns:a16="http://schemas.microsoft.com/office/drawing/2014/main" id="{9ADDECD0-D168-C9F9-1A9B-875635516DB3}"/>
              </a:ext>
            </a:extLst>
          </p:cNvPr>
          <p:cNvSpPr/>
          <p:nvPr/>
        </p:nvSpPr>
        <p:spPr>
          <a:xfrm>
            <a:off x="4981038" y="2630447"/>
            <a:ext cx="1332000" cy="421200"/>
          </a:xfrm>
          <a:custGeom>
            <a:avLst/>
            <a:gdLst>
              <a:gd name="connsiteX0" fmla="*/ 0 w 2717217"/>
              <a:gd name="connsiteY0" fmla="*/ 64800 h 647999"/>
              <a:gd name="connsiteX1" fmla="*/ 64800 w 2717217"/>
              <a:gd name="connsiteY1" fmla="*/ 0 h 647999"/>
              <a:gd name="connsiteX2" fmla="*/ 2652417 w 2717217"/>
              <a:gd name="connsiteY2" fmla="*/ 0 h 647999"/>
              <a:gd name="connsiteX3" fmla="*/ 2717217 w 2717217"/>
              <a:gd name="connsiteY3" fmla="*/ 64800 h 647999"/>
              <a:gd name="connsiteX4" fmla="*/ 2717217 w 2717217"/>
              <a:gd name="connsiteY4" fmla="*/ 583199 h 647999"/>
              <a:gd name="connsiteX5" fmla="*/ 2652417 w 2717217"/>
              <a:gd name="connsiteY5" fmla="*/ 647999 h 647999"/>
              <a:gd name="connsiteX6" fmla="*/ 64800 w 2717217"/>
              <a:gd name="connsiteY6" fmla="*/ 647999 h 647999"/>
              <a:gd name="connsiteX7" fmla="*/ 0 w 2717217"/>
              <a:gd name="connsiteY7" fmla="*/ 583199 h 647999"/>
              <a:gd name="connsiteX8" fmla="*/ 0 w 2717217"/>
              <a:gd name="connsiteY8" fmla="*/ 64800 h 64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647999">
                <a:moveTo>
                  <a:pt x="0" y="64800"/>
                </a:moveTo>
                <a:cubicBezTo>
                  <a:pt x="0" y="29012"/>
                  <a:pt x="29012" y="0"/>
                  <a:pt x="64800" y="0"/>
                </a:cubicBezTo>
                <a:lnTo>
                  <a:pt x="2652417" y="0"/>
                </a:lnTo>
                <a:cubicBezTo>
                  <a:pt x="2688205" y="0"/>
                  <a:pt x="2717217" y="29012"/>
                  <a:pt x="2717217" y="64800"/>
                </a:cubicBezTo>
                <a:lnTo>
                  <a:pt x="2717217" y="583199"/>
                </a:lnTo>
                <a:cubicBezTo>
                  <a:pt x="2717217" y="618987"/>
                  <a:pt x="2688205" y="647999"/>
                  <a:pt x="2652417" y="647999"/>
                </a:cubicBezTo>
                <a:lnTo>
                  <a:pt x="64800" y="647999"/>
                </a:lnTo>
                <a:cubicBezTo>
                  <a:pt x="29012" y="647999"/>
                  <a:pt x="0" y="618987"/>
                  <a:pt x="0" y="583199"/>
                </a:cubicBezTo>
                <a:lnTo>
                  <a:pt x="0" y="64800"/>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algn="ctr" defTabSz="466725">
              <a:lnSpc>
                <a:spcPct val="90000"/>
              </a:lnSpc>
              <a:spcBef>
                <a:spcPct val="0"/>
              </a:spcBef>
              <a:spcAft>
                <a:spcPct val="35000"/>
              </a:spcAft>
              <a:buClr>
                <a:srgbClr val="F0AB00"/>
              </a:buClr>
              <a:buSzPct val="100000"/>
            </a:pPr>
            <a:r>
              <a:rPr lang="en-US" sz="1050">
                <a:ln/>
                <a:latin typeface="Arial"/>
              </a:rPr>
              <a:t>API Insights Logging (TG46)</a:t>
            </a:r>
          </a:p>
        </p:txBody>
      </p:sp>
      <p:sp>
        <p:nvSpPr>
          <p:cNvPr id="12" name="Freeform: Shape 11">
            <a:extLst>
              <a:ext uri="{FF2B5EF4-FFF2-40B4-BE49-F238E27FC236}">
                <a16:creationId xmlns:a16="http://schemas.microsoft.com/office/drawing/2014/main" id="{36C995AF-F214-7BD3-6AD1-53DBA89F5E21}"/>
              </a:ext>
            </a:extLst>
          </p:cNvPr>
          <p:cNvSpPr/>
          <p:nvPr/>
        </p:nvSpPr>
        <p:spPr>
          <a:xfrm>
            <a:off x="4981038" y="3125585"/>
            <a:ext cx="1332000" cy="421200"/>
          </a:xfrm>
          <a:custGeom>
            <a:avLst/>
            <a:gdLst>
              <a:gd name="connsiteX0" fmla="*/ 0 w 2717217"/>
              <a:gd name="connsiteY0" fmla="*/ 64800 h 647999"/>
              <a:gd name="connsiteX1" fmla="*/ 64800 w 2717217"/>
              <a:gd name="connsiteY1" fmla="*/ 0 h 647999"/>
              <a:gd name="connsiteX2" fmla="*/ 2652417 w 2717217"/>
              <a:gd name="connsiteY2" fmla="*/ 0 h 647999"/>
              <a:gd name="connsiteX3" fmla="*/ 2717217 w 2717217"/>
              <a:gd name="connsiteY3" fmla="*/ 64800 h 647999"/>
              <a:gd name="connsiteX4" fmla="*/ 2717217 w 2717217"/>
              <a:gd name="connsiteY4" fmla="*/ 583199 h 647999"/>
              <a:gd name="connsiteX5" fmla="*/ 2652417 w 2717217"/>
              <a:gd name="connsiteY5" fmla="*/ 647999 h 647999"/>
              <a:gd name="connsiteX6" fmla="*/ 64800 w 2717217"/>
              <a:gd name="connsiteY6" fmla="*/ 647999 h 647999"/>
              <a:gd name="connsiteX7" fmla="*/ 0 w 2717217"/>
              <a:gd name="connsiteY7" fmla="*/ 583199 h 647999"/>
              <a:gd name="connsiteX8" fmla="*/ 0 w 2717217"/>
              <a:gd name="connsiteY8" fmla="*/ 64800 h 64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647999">
                <a:moveTo>
                  <a:pt x="0" y="64800"/>
                </a:moveTo>
                <a:cubicBezTo>
                  <a:pt x="0" y="29012"/>
                  <a:pt x="29012" y="0"/>
                  <a:pt x="64800" y="0"/>
                </a:cubicBezTo>
                <a:lnTo>
                  <a:pt x="2652417" y="0"/>
                </a:lnTo>
                <a:cubicBezTo>
                  <a:pt x="2688205" y="0"/>
                  <a:pt x="2717217" y="29012"/>
                  <a:pt x="2717217" y="64800"/>
                </a:cubicBezTo>
                <a:lnTo>
                  <a:pt x="2717217" y="583199"/>
                </a:lnTo>
                <a:cubicBezTo>
                  <a:pt x="2717217" y="618987"/>
                  <a:pt x="2688205" y="647999"/>
                  <a:pt x="2652417" y="647999"/>
                </a:cubicBezTo>
                <a:lnTo>
                  <a:pt x="64800" y="647999"/>
                </a:lnTo>
                <a:cubicBezTo>
                  <a:pt x="29012" y="647999"/>
                  <a:pt x="0" y="618987"/>
                  <a:pt x="0" y="583199"/>
                </a:cubicBezTo>
                <a:lnTo>
                  <a:pt x="0" y="64800"/>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algn="ctr" defTabSz="466725">
              <a:lnSpc>
                <a:spcPct val="90000"/>
              </a:lnSpc>
              <a:spcBef>
                <a:spcPct val="0"/>
              </a:spcBef>
              <a:spcAft>
                <a:spcPct val="35000"/>
              </a:spcAft>
              <a:buClr>
                <a:srgbClr val="F0AB00"/>
              </a:buClr>
              <a:buSzPct val="100000"/>
            </a:pPr>
            <a:r>
              <a:rPr lang="en-US" sz="1050">
                <a:ln/>
                <a:latin typeface="Arial"/>
              </a:rPr>
              <a:t>HTTP access logs</a:t>
            </a:r>
          </a:p>
        </p:txBody>
      </p:sp>
      <p:sp>
        <p:nvSpPr>
          <p:cNvPr id="13" name="Freeform: Shape 12">
            <a:extLst>
              <a:ext uri="{FF2B5EF4-FFF2-40B4-BE49-F238E27FC236}">
                <a16:creationId xmlns:a16="http://schemas.microsoft.com/office/drawing/2014/main" id="{EEE048E9-C9B1-E096-858D-451855F16BE2}"/>
              </a:ext>
            </a:extLst>
          </p:cNvPr>
          <p:cNvSpPr/>
          <p:nvPr/>
        </p:nvSpPr>
        <p:spPr>
          <a:xfrm>
            <a:off x="4981038" y="3623123"/>
            <a:ext cx="1332000" cy="421200"/>
          </a:xfrm>
          <a:custGeom>
            <a:avLst/>
            <a:gdLst>
              <a:gd name="connsiteX0" fmla="*/ 0 w 2717217"/>
              <a:gd name="connsiteY0" fmla="*/ 64800 h 647999"/>
              <a:gd name="connsiteX1" fmla="*/ 64800 w 2717217"/>
              <a:gd name="connsiteY1" fmla="*/ 0 h 647999"/>
              <a:gd name="connsiteX2" fmla="*/ 2652417 w 2717217"/>
              <a:gd name="connsiteY2" fmla="*/ 0 h 647999"/>
              <a:gd name="connsiteX3" fmla="*/ 2717217 w 2717217"/>
              <a:gd name="connsiteY3" fmla="*/ 64800 h 647999"/>
              <a:gd name="connsiteX4" fmla="*/ 2717217 w 2717217"/>
              <a:gd name="connsiteY4" fmla="*/ 583199 h 647999"/>
              <a:gd name="connsiteX5" fmla="*/ 2652417 w 2717217"/>
              <a:gd name="connsiteY5" fmla="*/ 647999 h 647999"/>
              <a:gd name="connsiteX6" fmla="*/ 64800 w 2717217"/>
              <a:gd name="connsiteY6" fmla="*/ 647999 h 647999"/>
              <a:gd name="connsiteX7" fmla="*/ 0 w 2717217"/>
              <a:gd name="connsiteY7" fmla="*/ 583199 h 647999"/>
              <a:gd name="connsiteX8" fmla="*/ 0 w 2717217"/>
              <a:gd name="connsiteY8" fmla="*/ 64800 h 64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647999">
                <a:moveTo>
                  <a:pt x="0" y="64800"/>
                </a:moveTo>
                <a:cubicBezTo>
                  <a:pt x="0" y="29012"/>
                  <a:pt x="29012" y="0"/>
                  <a:pt x="64800" y="0"/>
                </a:cubicBezTo>
                <a:lnTo>
                  <a:pt x="2652417" y="0"/>
                </a:lnTo>
                <a:cubicBezTo>
                  <a:pt x="2688205" y="0"/>
                  <a:pt x="2717217" y="29012"/>
                  <a:pt x="2717217" y="64800"/>
                </a:cubicBezTo>
                <a:lnTo>
                  <a:pt x="2717217" y="583199"/>
                </a:lnTo>
                <a:cubicBezTo>
                  <a:pt x="2717217" y="618987"/>
                  <a:pt x="2688205" y="647999"/>
                  <a:pt x="2652417" y="647999"/>
                </a:cubicBezTo>
                <a:lnTo>
                  <a:pt x="64800" y="647999"/>
                </a:lnTo>
                <a:cubicBezTo>
                  <a:pt x="29012" y="647999"/>
                  <a:pt x="0" y="618987"/>
                  <a:pt x="0" y="583199"/>
                </a:cubicBezTo>
                <a:lnTo>
                  <a:pt x="0" y="64800"/>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algn="ctr" defTabSz="466725">
              <a:lnSpc>
                <a:spcPct val="90000"/>
              </a:lnSpc>
              <a:spcBef>
                <a:spcPct val="0"/>
              </a:spcBef>
              <a:spcAft>
                <a:spcPct val="35000"/>
              </a:spcAft>
              <a:buClr>
                <a:srgbClr val="F0AB00"/>
              </a:buClr>
              <a:buSzPct val="100000"/>
            </a:pPr>
            <a:r>
              <a:rPr lang="en-US" sz="1050">
                <a:ln/>
                <a:latin typeface="Arial"/>
              </a:rPr>
              <a:t>Custom Variables based on request attributes</a:t>
            </a:r>
          </a:p>
        </p:txBody>
      </p:sp>
      <p:sp>
        <p:nvSpPr>
          <p:cNvPr id="14" name="Freeform: Shape 13">
            <a:extLst>
              <a:ext uri="{FF2B5EF4-FFF2-40B4-BE49-F238E27FC236}">
                <a16:creationId xmlns:a16="http://schemas.microsoft.com/office/drawing/2014/main" id="{C0F490B9-B7A1-960A-C4A5-AB405D03A846}"/>
              </a:ext>
            </a:extLst>
          </p:cNvPr>
          <p:cNvSpPr/>
          <p:nvPr/>
        </p:nvSpPr>
        <p:spPr>
          <a:xfrm>
            <a:off x="8292648" y="1369325"/>
            <a:ext cx="3396521" cy="4390347"/>
          </a:xfrm>
          <a:custGeom>
            <a:avLst/>
            <a:gdLst>
              <a:gd name="connsiteX0" fmla="*/ 0 w 3396521"/>
              <a:gd name="connsiteY0" fmla="*/ 339652 h 4399872"/>
              <a:gd name="connsiteX1" fmla="*/ 339652 w 3396521"/>
              <a:gd name="connsiteY1" fmla="*/ 0 h 4399872"/>
              <a:gd name="connsiteX2" fmla="*/ 3056869 w 3396521"/>
              <a:gd name="connsiteY2" fmla="*/ 0 h 4399872"/>
              <a:gd name="connsiteX3" fmla="*/ 3396521 w 3396521"/>
              <a:gd name="connsiteY3" fmla="*/ 339652 h 4399872"/>
              <a:gd name="connsiteX4" fmla="*/ 3396521 w 3396521"/>
              <a:gd name="connsiteY4" fmla="*/ 4060220 h 4399872"/>
              <a:gd name="connsiteX5" fmla="*/ 3056869 w 3396521"/>
              <a:gd name="connsiteY5" fmla="*/ 4399872 h 4399872"/>
              <a:gd name="connsiteX6" fmla="*/ 339652 w 3396521"/>
              <a:gd name="connsiteY6" fmla="*/ 4399872 h 4399872"/>
              <a:gd name="connsiteX7" fmla="*/ 0 w 3396521"/>
              <a:gd name="connsiteY7" fmla="*/ 4060220 h 4399872"/>
              <a:gd name="connsiteX8" fmla="*/ 0 w 3396521"/>
              <a:gd name="connsiteY8" fmla="*/ 339652 h 439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6521" h="4399872">
                <a:moveTo>
                  <a:pt x="0" y="339652"/>
                </a:moveTo>
                <a:cubicBezTo>
                  <a:pt x="0" y="152067"/>
                  <a:pt x="152067" y="0"/>
                  <a:pt x="339652" y="0"/>
                </a:cubicBezTo>
                <a:lnTo>
                  <a:pt x="3056869" y="0"/>
                </a:lnTo>
                <a:cubicBezTo>
                  <a:pt x="3244454" y="0"/>
                  <a:pt x="3396521" y="152067"/>
                  <a:pt x="3396521" y="339652"/>
                </a:cubicBezTo>
                <a:lnTo>
                  <a:pt x="3396521" y="4060220"/>
                </a:lnTo>
                <a:cubicBezTo>
                  <a:pt x="3396521" y="4247805"/>
                  <a:pt x="3244454" y="4399872"/>
                  <a:pt x="3056869" y="4399872"/>
                </a:cubicBezTo>
                <a:lnTo>
                  <a:pt x="339652" y="4399872"/>
                </a:lnTo>
                <a:cubicBezTo>
                  <a:pt x="152067" y="4399872"/>
                  <a:pt x="0" y="4247805"/>
                  <a:pt x="0" y="4060220"/>
                </a:cubicBezTo>
                <a:lnTo>
                  <a:pt x="0" y="339652"/>
                </a:lnTo>
                <a:close/>
              </a:path>
            </a:pathLst>
          </a:custGeom>
          <a:solidFill>
            <a:srgbClr val="E5EDF7"/>
          </a:solidFill>
          <a:ln w="76200">
            <a:solidFill>
              <a:srgbClr val="DEEBF7"/>
            </a:solidFill>
          </a:ln>
        </p:spPr>
        <p:style>
          <a:lnRef idx="0">
            <a:scrgbClr r="0" g="0" b="0"/>
          </a:lnRef>
          <a:fillRef idx="1">
            <a:scrgbClr r="0" g="0" b="0"/>
          </a:fillRef>
          <a:effectRef idx="0">
            <a:schemeClr val="accent3">
              <a:tint val="40000"/>
              <a:hueOff val="0"/>
              <a:satOff val="0"/>
              <a:lumOff val="0"/>
              <a:alphaOff val="0"/>
            </a:schemeClr>
          </a:effectRef>
          <a:fontRef idx="minor">
            <a:schemeClr val="dk1">
              <a:hueOff val="0"/>
              <a:satOff val="0"/>
              <a:lumOff val="0"/>
              <a:alphaOff val="0"/>
            </a:schemeClr>
          </a:fontRef>
        </p:style>
        <p:txBody>
          <a:bodyPr spcFirstLastPara="0" vert="horz" wrap="square" lIns="68580" tIns="68580" rIns="68580" bIns="3148491" numCol="1" spcCol="1270" anchor="ctr" anchorCtr="0">
            <a:noAutofit/>
          </a:bodyPr>
          <a:lstStyle/>
          <a:p>
            <a:pPr marL="0" lvl="0" indent="0" algn="ctr" defTabSz="800100">
              <a:lnSpc>
                <a:spcPct val="90000"/>
              </a:lnSpc>
              <a:spcBef>
                <a:spcPct val="0"/>
              </a:spcBef>
              <a:spcAft>
                <a:spcPct val="35000"/>
              </a:spcAft>
              <a:buNone/>
            </a:pPr>
            <a:r>
              <a:rPr lang="en-US" sz="1800" b="1" kern="1200"/>
              <a:t>Secure Traffic</a:t>
            </a:r>
          </a:p>
        </p:txBody>
      </p:sp>
      <p:sp>
        <p:nvSpPr>
          <p:cNvPr id="15" name="Freeform: Shape 14">
            <a:extLst>
              <a:ext uri="{FF2B5EF4-FFF2-40B4-BE49-F238E27FC236}">
                <a16:creationId xmlns:a16="http://schemas.microsoft.com/office/drawing/2014/main" id="{A4FEFDB0-4BF9-8F60-824B-20E26C004061}"/>
              </a:ext>
            </a:extLst>
          </p:cNvPr>
          <p:cNvSpPr/>
          <p:nvPr/>
        </p:nvSpPr>
        <p:spPr>
          <a:xfrm>
            <a:off x="8632301" y="2630447"/>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marL="0" lvl="0" indent="0" algn="ctr" defTabSz="622300">
              <a:lnSpc>
                <a:spcPct val="90000"/>
              </a:lnSpc>
              <a:spcBef>
                <a:spcPct val="0"/>
              </a:spcBef>
              <a:spcAft>
                <a:spcPct val="35000"/>
              </a:spcAft>
              <a:buNone/>
            </a:pPr>
            <a:r>
              <a:rPr kumimoji="0" lang="en-US" sz="1050" b="0" i="0" u="none" strike="noStrike" kern="1200" cap="none" spc="0" normalizeH="0" baseline="0" noProof="0">
                <a:ln/>
                <a:effectLst/>
                <a:uLnTx/>
                <a:uFillTx/>
                <a:latin typeface="Arial"/>
                <a:ea typeface="+mn-ea"/>
                <a:cs typeface="+mn-cs"/>
              </a:rPr>
              <a:t>Certificate &amp; TLS management</a:t>
            </a:r>
            <a:endParaRPr lang="en-US" sz="1050" b="0" kern="1200"/>
          </a:p>
        </p:txBody>
      </p:sp>
      <p:sp>
        <p:nvSpPr>
          <p:cNvPr id="16" name="Freeform: Shape 15">
            <a:extLst>
              <a:ext uri="{FF2B5EF4-FFF2-40B4-BE49-F238E27FC236}">
                <a16:creationId xmlns:a16="http://schemas.microsoft.com/office/drawing/2014/main" id="{7AB1BB7B-877A-08D1-E654-11E19C23BF1F}"/>
              </a:ext>
            </a:extLst>
          </p:cNvPr>
          <p:cNvSpPr/>
          <p:nvPr/>
        </p:nvSpPr>
        <p:spPr>
          <a:xfrm>
            <a:off x="8632301" y="3127275"/>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pPr>
            <a:r>
              <a:rPr lang="en-US" sz="1050">
                <a:ln/>
                <a:latin typeface="Arial"/>
              </a:rPr>
              <a:t>Static Ingress IPs</a:t>
            </a:r>
          </a:p>
        </p:txBody>
      </p:sp>
      <p:sp>
        <p:nvSpPr>
          <p:cNvPr id="17" name="Freeform: Shape 16">
            <a:extLst>
              <a:ext uri="{FF2B5EF4-FFF2-40B4-BE49-F238E27FC236}">
                <a16:creationId xmlns:a16="http://schemas.microsoft.com/office/drawing/2014/main" id="{9382BF09-5408-3D6F-E94D-BB2DC3844A19}"/>
              </a:ext>
            </a:extLst>
          </p:cNvPr>
          <p:cNvSpPr/>
          <p:nvPr/>
        </p:nvSpPr>
        <p:spPr>
          <a:xfrm>
            <a:off x="8632301" y="3624103"/>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pPr>
            <a:r>
              <a:rPr lang="en-US" sz="1050">
                <a:ln/>
                <a:latin typeface="Arial"/>
              </a:rPr>
              <a:t>mTLS to </a:t>
            </a:r>
            <a:r>
              <a:rPr lang="en-US" sz="1050" err="1">
                <a:ln/>
                <a:latin typeface="Arial"/>
              </a:rPr>
              <a:t>LoB</a:t>
            </a:r>
            <a:r>
              <a:rPr lang="en-US" sz="1050">
                <a:ln/>
                <a:latin typeface="Arial"/>
              </a:rPr>
              <a:t> &amp; </a:t>
            </a:r>
            <a:br>
              <a:rPr lang="en-US" sz="1050">
                <a:ln/>
                <a:latin typeface="Arial"/>
              </a:rPr>
            </a:br>
            <a:r>
              <a:rPr lang="en-US" sz="1050">
                <a:ln/>
                <a:latin typeface="Arial"/>
              </a:rPr>
              <a:t>Client</a:t>
            </a:r>
          </a:p>
        </p:txBody>
      </p:sp>
      <p:sp>
        <p:nvSpPr>
          <p:cNvPr id="18" name="Freeform: Shape 17">
            <a:extLst>
              <a:ext uri="{FF2B5EF4-FFF2-40B4-BE49-F238E27FC236}">
                <a16:creationId xmlns:a16="http://schemas.microsoft.com/office/drawing/2014/main" id="{352E7AD9-558F-1329-8465-EABC5FC1629B}"/>
              </a:ext>
            </a:extLst>
          </p:cNvPr>
          <p:cNvSpPr/>
          <p:nvPr/>
        </p:nvSpPr>
        <p:spPr>
          <a:xfrm>
            <a:off x="8632301" y="4120931"/>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pPr>
            <a:r>
              <a:rPr lang="en-US" sz="1050">
                <a:ln/>
                <a:latin typeface="Arial"/>
              </a:rPr>
              <a:t>Limiting Requests by Size</a:t>
            </a:r>
          </a:p>
        </p:txBody>
      </p:sp>
      <p:sp>
        <p:nvSpPr>
          <p:cNvPr id="19" name="Freeform: Shape 18">
            <a:extLst>
              <a:ext uri="{FF2B5EF4-FFF2-40B4-BE49-F238E27FC236}">
                <a16:creationId xmlns:a16="http://schemas.microsoft.com/office/drawing/2014/main" id="{2855284F-B7E4-B3C1-D59E-068FC7AFDE99}"/>
              </a:ext>
            </a:extLst>
          </p:cNvPr>
          <p:cNvSpPr/>
          <p:nvPr/>
        </p:nvSpPr>
        <p:spPr>
          <a:xfrm>
            <a:off x="8632301" y="4617759"/>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F0F5FA"/>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pPr>
            <a:r>
              <a:rPr lang="en-US" sz="1050">
                <a:ln/>
                <a:latin typeface="Arial"/>
              </a:rPr>
              <a:t>Web Application Firewall (WAF) </a:t>
            </a:r>
          </a:p>
        </p:txBody>
      </p:sp>
      <p:sp>
        <p:nvSpPr>
          <p:cNvPr id="20" name="Freeform: Shape 19">
            <a:extLst>
              <a:ext uri="{FF2B5EF4-FFF2-40B4-BE49-F238E27FC236}">
                <a16:creationId xmlns:a16="http://schemas.microsoft.com/office/drawing/2014/main" id="{DC66915B-57C2-232D-757F-8DA5742691E2}"/>
              </a:ext>
            </a:extLst>
          </p:cNvPr>
          <p:cNvSpPr/>
          <p:nvPr/>
        </p:nvSpPr>
        <p:spPr>
          <a:xfrm>
            <a:off x="8632301" y="5114587"/>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F0F5FA"/>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0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rPr>
              <a:t>NDR </a:t>
            </a:r>
            <a:br>
              <a:rPr kumimoji="0" lang="en-US" sz="105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rPr>
            </a:br>
            <a:r>
              <a:rPr kumimoji="0" lang="en-US" sz="80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rPr>
              <a:t>(Network Detection and response)</a:t>
            </a:r>
            <a:endParaRPr lang="en-US" sz="1050">
              <a:ln/>
              <a:latin typeface="Arial"/>
            </a:endParaRPr>
          </a:p>
        </p:txBody>
      </p:sp>
      <p:sp>
        <p:nvSpPr>
          <p:cNvPr id="21" name="Freeform: Shape 20">
            <a:extLst>
              <a:ext uri="{FF2B5EF4-FFF2-40B4-BE49-F238E27FC236}">
                <a16:creationId xmlns:a16="http://schemas.microsoft.com/office/drawing/2014/main" id="{4DB70A88-D813-271D-25D3-43956DAD68C5}"/>
              </a:ext>
            </a:extLst>
          </p:cNvPr>
          <p:cNvSpPr/>
          <p:nvPr/>
        </p:nvSpPr>
        <p:spPr>
          <a:xfrm>
            <a:off x="2762415" y="2631671"/>
            <a:ext cx="1332000" cy="421200"/>
          </a:xfrm>
          <a:custGeom>
            <a:avLst/>
            <a:gdLst>
              <a:gd name="connsiteX0" fmla="*/ 0 w 893393"/>
              <a:gd name="connsiteY0" fmla="*/ 38414 h 384144"/>
              <a:gd name="connsiteX1" fmla="*/ 38414 w 893393"/>
              <a:gd name="connsiteY1" fmla="*/ 0 h 384144"/>
              <a:gd name="connsiteX2" fmla="*/ 854979 w 893393"/>
              <a:gd name="connsiteY2" fmla="*/ 0 h 384144"/>
              <a:gd name="connsiteX3" fmla="*/ 893393 w 893393"/>
              <a:gd name="connsiteY3" fmla="*/ 38414 h 384144"/>
              <a:gd name="connsiteX4" fmla="*/ 893393 w 893393"/>
              <a:gd name="connsiteY4" fmla="*/ 345730 h 384144"/>
              <a:gd name="connsiteX5" fmla="*/ 854979 w 893393"/>
              <a:gd name="connsiteY5" fmla="*/ 384144 h 384144"/>
              <a:gd name="connsiteX6" fmla="*/ 38414 w 893393"/>
              <a:gd name="connsiteY6" fmla="*/ 384144 h 384144"/>
              <a:gd name="connsiteX7" fmla="*/ 0 w 893393"/>
              <a:gd name="connsiteY7" fmla="*/ 345730 h 384144"/>
              <a:gd name="connsiteX8" fmla="*/ 0 w 893393"/>
              <a:gd name="connsiteY8" fmla="*/ 38414 h 3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393" h="384144">
                <a:moveTo>
                  <a:pt x="0" y="38414"/>
                </a:moveTo>
                <a:cubicBezTo>
                  <a:pt x="0" y="17199"/>
                  <a:pt x="17199" y="0"/>
                  <a:pt x="38414" y="0"/>
                </a:cubicBezTo>
                <a:lnTo>
                  <a:pt x="854979" y="0"/>
                </a:lnTo>
                <a:cubicBezTo>
                  <a:pt x="876194" y="0"/>
                  <a:pt x="893393" y="17199"/>
                  <a:pt x="893393" y="38414"/>
                </a:cubicBezTo>
                <a:lnTo>
                  <a:pt x="893393" y="345730"/>
                </a:lnTo>
                <a:cubicBezTo>
                  <a:pt x="893393" y="366945"/>
                  <a:pt x="876194" y="384144"/>
                  <a:pt x="854979" y="384144"/>
                </a:cubicBezTo>
                <a:lnTo>
                  <a:pt x="38414" y="384144"/>
                </a:lnTo>
                <a:cubicBezTo>
                  <a:pt x="17199" y="384144"/>
                  <a:pt x="0" y="366945"/>
                  <a:pt x="0" y="345730"/>
                </a:cubicBezTo>
                <a:lnTo>
                  <a:pt x="0" y="38414"/>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algn="ctr" defTabSz="466725">
              <a:lnSpc>
                <a:spcPct val="90000"/>
              </a:lnSpc>
              <a:spcBef>
                <a:spcPct val="0"/>
              </a:spcBef>
              <a:spcAft>
                <a:spcPct val="35000"/>
              </a:spcAft>
              <a:buClr>
                <a:srgbClr val="F0AB00"/>
              </a:buClr>
              <a:buSzPct val="100000"/>
            </a:pPr>
            <a:r>
              <a:rPr lang="en-US" sz="1050">
                <a:ln/>
                <a:latin typeface="Arial"/>
              </a:rPr>
              <a:t>Host based </a:t>
            </a:r>
            <a:br>
              <a:rPr lang="en-US" sz="1050">
                <a:ln/>
                <a:latin typeface="Arial"/>
              </a:rPr>
            </a:br>
            <a:r>
              <a:rPr lang="en-US" sz="1050">
                <a:ln/>
                <a:latin typeface="Arial"/>
              </a:rPr>
              <a:t>Routing</a:t>
            </a:r>
          </a:p>
        </p:txBody>
      </p:sp>
      <p:sp>
        <p:nvSpPr>
          <p:cNvPr id="22" name="Freeform: Shape 21">
            <a:extLst>
              <a:ext uri="{FF2B5EF4-FFF2-40B4-BE49-F238E27FC236}">
                <a16:creationId xmlns:a16="http://schemas.microsoft.com/office/drawing/2014/main" id="{7C75E121-1F3D-09D9-A4B6-04EF67E2D5B2}"/>
              </a:ext>
            </a:extLst>
          </p:cNvPr>
          <p:cNvSpPr/>
          <p:nvPr/>
        </p:nvSpPr>
        <p:spPr>
          <a:xfrm>
            <a:off x="2764502" y="3624103"/>
            <a:ext cx="1332000" cy="421200"/>
          </a:xfrm>
          <a:custGeom>
            <a:avLst/>
            <a:gdLst>
              <a:gd name="connsiteX0" fmla="*/ 0 w 893393"/>
              <a:gd name="connsiteY0" fmla="*/ 38414 h 384144"/>
              <a:gd name="connsiteX1" fmla="*/ 38414 w 893393"/>
              <a:gd name="connsiteY1" fmla="*/ 0 h 384144"/>
              <a:gd name="connsiteX2" fmla="*/ 854979 w 893393"/>
              <a:gd name="connsiteY2" fmla="*/ 0 h 384144"/>
              <a:gd name="connsiteX3" fmla="*/ 893393 w 893393"/>
              <a:gd name="connsiteY3" fmla="*/ 38414 h 384144"/>
              <a:gd name="connsiteX4" fmla="*/ 893393 w 893393"/>
              <a:gd name="connsiteY4" fmla="*/ 345730 h 384144"/>
              <a:gd name="connsiteX5" fmla="*/ 854979 w 893393"/>
              <a:gd name="connsiteY5" fmla="*/ 384144 h 384144"/>
              <a:gd name="connsiteX6" fmla="*/ 38414 w 893393"/>
              <a:gd name="connsiteY6" fmla="*/ 384144 h 384144"/>
              <a:gd name="connsiteX7" fmla="*/ 0 w 893393"/>
              <a:gd name="connsiteY7" fmla="*/ 345730 h 384144"/>
              <a:gd name="connsiteX8" fmla="*/ 0 w 893393"/>
              <a:gd name="connsiteY8" fmla="*/ 38414 h 3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393" h="384144">
                <a:moveTo>
                  <a:pt x="0" y="38414"/>
                </a:moveTo>
                <a:cubicBezTo>
                  <a:pt x="0" y="17199"/>
                  <a:pt x="17199" y="0"/>
                  <a:pt x="38414" y="0"/>
                </a:cubicBezTo>
                <a:lnTo>
                  <a:pt x="854979" y="0"/>
                </a:lnTo>
                <a:cubicBezTo>
                  <a:pt x="876194" y="0"/>
                  <a:pt x="893393" y="17199"/>
                  <a:pt x="893393" y="38414"/>
                </a:cubicBezTo>
                <a:lnTo>
                  <a:pt x="893393" y="345730"/>
                </a:lnTo>
                <a:cubicBezTo>
                  <a:pt x="893393" y="366945"/>
                  <a:pt x="876194" y="384144"/>
                  <a:pt x="854979" y="384144"/>
                </a:cubicBezTo>
                <a:lnTo>
                  <a:pt x="38414" y="384144"/>
                </a:lnTo>
                <a:cubicBezTo>
                  <a:pt x="17199" y="384144"/>
                  <a:pt x="0" y="366945"/>
                  <a:pt x="0" y="345730"/>
                </a:cubicBezTo>
                <a:lnTo>
                  <a:pt x="0" y="38414"/>
                </a:lnTo>
                <a:close/>
              </a:path>
            </a:pathLst>
          </a:custGeom>
          <a:solidFill>
            <a:srgbClr val="F0F5FA"/>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algn="ctr" defTabSz="466725">
              <a:lnSpc>
                <a:spcPct val="90000"/>
              </a:lnSpc>
              <a:spcBef>
                <a:spcPct val="0"/>
              </a:spcBef>
              <a:spcAft>
                <a:spcPct val="35000"/>
              </a:spcAft>
              <a:buClr>
                <a:srgbClr val="F0AB00"/>
              </a:buClr>
              <a:buSzPct val="100000"/>
            </a:pPr>
            <a:r>
              <a:rPr lang="en-US" sz="1050">
                <a:ln/>
                <a:latin typeface="Arial"/>
              </a:rPr>
              <a:t>Headers transformations</a:t>
            </a:r>
          </a:p>
        </p:txBody>
      </p:sp>
      <p:sp>
        <p:nvSpPr>
          <p:cNvPr id="23" name="Freeform: Shape 22">
            <a:extLst>
              <a:ext uri="{FF2B5EF4-FFF2-40B4-BE49-F238E27FC236}">
                <a16:creationId xmlns:a16="http://schemas.microsoft.com/office/drawing/2014/main" id="{AC35A207-99FA-5CBA-BD1E-602F61DBC305}"/>
              </a:ext>
            </a:extLst>
          </p:cNvPr>
          <p:cNvSpPr/>
          <p:nvPr/>
        </p:nvSpPr>
        <p:spPr>
          <a:xfrm>
            <a:off x="1233981" y="4121666"/>
            <a:ext cx="1332000" cy="421200"/>
          </a:xfrm>
          <a:custGeom>
            <a:avLst/>
            <a:gdLst>
              <a:gd name="connsiteX0" fmla="*/ 0 w 893393"/>
              <a:gd name="connsiteY0" fmla="*/ 38414 h 384144"/>
              <a:gd name="connsiteX1" fmla="*/ 38414 w 893393"/>
              <a:gd name="connsiteY1" fmla="*/ 0 h 384144"/>
              <a:gd name="connsiteX2" fmla="*/ 854979 w 893393"/>
              <a:gd name="connsiteY2" fmla="*/ 0 h 384144"/>
              <a:gd name="connsiteX3" fmla="*/ 893393 w 893393"/>
              <a:gd name="connsiteY3" fmla="*/ 38414 h 384144"/>
              <a:gd name="connsiteX4" fmla="*/ 893393 w 893393"/>
              <a:gd name="connsiteY4" fmla="*/ 345730 h 384144"/>
              <a:gd name="connsiteX5" fmla="*/ 854979 w 893393"/>
              <a:gd name="connsiteY5" fmla="*/ 384144 h 384144"/>
              <a:gd name="connsiteX6" fmla="*/ 38414 w 893393"/>
              <a:gd name="connsiteY6" fmla="*/ 384144 h 384144"/>
              <a:gd name="connsiteX7" fmla="*/ 0 w 893393"/>
              <a:gd name="connsiteY7" fmla="*/ 345730 h 384144"/>
              <a:gd name="connsiteX8" fmla="*/ 0 w 893393"/>
              <a:gd name="connsiteY8" fmla="*/ 38414 h 3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393" h="384144">
                <a:moveTo>
                  <a:pt x="0" y="38414"/>
                </a:moveTo>
                <a:cubicBezTo>
                  <a:pt x="0" y="17199"/>
                  <a:pt x="17199" y="0"/>
                  <a:pt x="38414" y="0"/>
                </a:cubicBezTo>
                <a:lnTo>
                  <a:pt x="854979" y="0"/>
                </a:lnTo>
                <a:cubicBezTo>
                  <a:pt x="876194" y="0"/>
                  <a:pt x="893393" y="17199"/>
                  <a:pt x="893393" y="38414"/>
                </a:cubicBezTo>
                <a:lnTo>
                  <a:pt x="893393" y="345730"/>
                </a:lnTo>
                <a:cubicBezTo>
                  <a:pt x="893393" y="366945"/>
                  <a:pt x="876194" y="384144"/>
                  <a:pt x="854979" y="384144"/>
                </a:cubicBezTo>
                <a:lnTo>
                  <a:pt x="38414" y="384144"/>
                </a:lnTo>
                <a:cubicBezTo>
                  <a:pt x="17199" y="384144"/>
                  <a:pt x="0" y="366945"/>
                  <a:pt x="0" y="345730"/>
                </a:cubicBezTo>
                <a:lnTo>
                  <a:pt x="0" y="38414"/>
                </a:lnTo>
                <a:close/>
              </a:path>
            </a:pathLst>
          </a:custGeom>
          <a:solidFill>
            <a:srgbClr val="F0F5FA"/>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algn="ctr" defTabSz="466725">
              <a:lnSpc>
                <a:spcPct val="90000"/>
              </a:lnSpc>
              <a:spcBef>
                <a:spcPct val="0"/>
              </a:spcBef>
              <a:spcAft>
                <a:spcPct val="35000"/>
              </a:spcAft>
              <a:buClr>
                <a:srgbClr val="F0AB00"/>
              </a:buClr>
              <a:buSzPct val="100000"/>
            </a:pPr>
            <a:r>
              <a:rPr lang="en-US" sz="1050">
                <a:ln/>
                <a:latin typeface="Arial"/>
              </a:rPr>
              <a:t>Static edge caching (based on CDN)</a:t>
            </a:r>
          </a:p>
        </p:txBody>
      </p:sp>
      <p:sp>
        <p:nvSpPr>
          <p:cNvPr id="24" name="Freeform: Shape 23">
            <a:extLst>
              <a:ext uri="{FF2B5EF4-FFF2-40B4-BE49-F238E27FC236}">
                <a16:creationId xmlns:a16="http://schemas.microsoft.com/office/drawing/2014/main" id="{84E233EC-0B25-C9FD-30A6-E1042C56CC19}"/>
              </a:ext>
            </a:extLst>
          </p:cNvPr>
          <p:cNvSpPr/>
          <p:nvPr/>
        </p:nvSpPr>
        <p:spPr>
          <a:xfrm>
            <a:off x="1236068" y="3623734"/>
            <a:ext cx="1332000" cy="421200"/>
          </a:xfrm>
          <a:custGeom>
            <a:avLst/>
            <a:gdLst>
              <a:gd name="connsiteX0" fmla="*/ 0 w 893393"/>
              <a:gd name="connsiteY0" fmla="*/ 38414 h 384144"/>
              <a:gd name="connsiteX1" fmla="*/ 38414 w 893393"/>
              <a:gd name="connsiteY1" fmla="*/ 0 h 384144"/>
              <a:gd name="connsiteX2" fmla="*/ 854979 w 893393"/>
              <a:gd name="connsiteY2" fmla="*/ 0 h 384144"/>
              <a:gd name="connsiteX3" fmla="*/ 893393 w 893393"/>
              <a:gd name="connsiteY3" fmla="*/ 38414 h 384144"/>
              <a:gd name="connsiteX4" fmla="*/ 893393 w 893393"/>
              <a:gd name="connsiteY4" fmla="*/ 345730 h 384144"/>
              <a:gd name="connsiteX5" fmla="*/ 854979 w 893393"/>
              <a:gd name="connsiteY5" fmla="*/ 384144 h 384144"/>
              <a:gd name="connsiteX6" fmla="*/ 38414 w 893393"/>
              <a:gd name="connsiteY6" fmla="*/ 384144 h 384144"/>
              <a:gd name="connsiteX7" fmla="*/ 0 w 893393"/>
              <a:gd name="connsiteY7" fmla="*/ 345730 h 384144"/>
              <a:gd name="connsiteX8" fmla="*/ 0 w 893393"/>
              <a:gd name="connsiteY8" fmla="*/ 38414 h 3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393" h="384144">
                <a:moveTo>
                  <a:pt x="0" y="38414"/>
                </a:moveTo>
                <a:cubicBezTo>
                  <a:pt x="0" y="17199"/>
                  <a:pt x="17199" y="0"/>
                  <a:pt x="38414" y="0"/>
                </a:cubicBezTo>
                <a:lnTo>
                  <a:pt x="854979" y="0"/>
                </a:lnTo>
                <a:cubicBezTo>
                  <a:pt x="876194" y="0"/>
                  <a:pt x="893393" y="17199"/>
                  <a:pt x="893393" y="38414"/>
                </a:cubicBezTo>
                <a:lnTo>
                  <a:pt x="893393" y="345730"/>
                </a:lnTo>
                <a:cubicBezTo>
                  <a:pt x="893393" y="366945"/>
                  <a:pt x="876194" y="384144"/>
                  <a:pt x="854979" y="384144"/>
                </a:cubicBezTo>
                <a:lnTo>
                  <a:pt x="38414" y="384144"/>
                </a:lnTo>
                <a:cubicBezTo>
                  <a:pt x="17199" y="384144"/>
                  <a:pt x="0" y="366945"/>
                  <a:pt x="0" y="345730"/>
                </a:cubicBezTo>
                <a:lnTo>
                  <a:pt x="0" y="38414"/>
                </a:lnTo>
                <a:close/>
              </a:path>
            </a:pathLst>
          </a:custGeom>
          <a:solidFill>
            <a:srgbClr val="F0F5FA"/>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algn="ctr" defTabSz="466725">
              <a:lnSpc>
                <a:spcPct val="90000"/>
              </a:lnSpc>
              <a:spcBef>
                <a:spcPct val="0"/>
              </a:spcBef>
              <a:spcAft>
                <a:spcPct val="35000"/>
              </a:spcAft>
              <a:buClr>
                <a:srgbClr val="F0AB00"/>
              </a:buClr>
              <a:buSzPct val="100000"/>
            </a:pPr>
            <a:r>
              <a:rPr lang="en-US" sz="1050">
                <a:ln/>
                <a:latin typeface="Arial"/>
              </a:rPr>
              <a:t>Common super domain (L2 &amp; L3)</a:t>
            </a:r>
          </a:p>
        </p:txBody>
      </p:sp>
      <p:sp>
        <p:nvSpPr>
          <p:cNvPr id="2" name="Freeform: Shape 1">
            <a:extLst>
              <a:ext uri="{FF2B5EF4-FFF2-40B4-BE49-F238E27FC236}">
                <a16:creationId xmlns:a16="http://schemas.microsoft.com/office/drawing/2014/main" id="{ABDE42C2-C36D-E0B8-D5B9-C35F49A21AFC}"/>
              </a:ext>
            </a:extLst>
          </p:cNvPr>
          <p:cNvSpPr/>
          <p:nvPr/>
        </p:nvSpPr>
        <p:spPr>
          <a:xfrm>
            <a:off x="1233981" y="4618739"/>
            <a:ext cx="1332000" cy="421200"/>
          </a:xfrm>
          <a:custGeom>
            <a:avLst/>
            <a:gdLst>
              <a:gd name="connsiteX0" fmla="*/ 0 w 893393"/>
              <a:gd name="connsiteY0" fmla="*/ 38414 h 384144"/>
              <a:gd name="connsiteX1" fmla="*/ 38414 w 893393"/>
              <a:gd name="connsiteY1" fmla="*/ 0 h 384144"/>
              <a:gd name="connsiteX2" fmla="*/ 854979 w 893393"/>
              <a:gd name="connsiteY2" fmla="*/ 0 h 384144"/>
              <a:gd name="connsiteX3" fmla="*/ 893393 w 893393"/>
              <a:gd name="connsiteY3" fmla="*/ 38414 h 384144"/>
              <a:gd name="connsiteX4" fmla="*/ 893393 w 893393"/>
              <a:gd name="connsiteY4" fmla="*/ 345730 h 384144"/>
              <a:gd name="connsiteX5" fmla="*/ 854979 w 893393"/>
              <a:gd name="connsiteY5" fmla="*/ 384144 h 384144"/>
              <a:gd name="connsiteX6" fmla="*/ 38414 w 893393"/>
              <a:gd name="connsiteY6" fmla="*/ 384144 h 384144"/>
              <a:gd name="connsiteX7" fmla="*/ 0 w 893393"/>
              <a:gd name="connsiteY7" fmla="*/ 345730 h 384144"/>
              <a:gd name="connsiteX8" fmla="*/ 0 w 893393"/>
              <a:gd name="connsiteY8" fmla="*/ 38414 h 3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393" h="384144">
                <a:moveTo>
                  <a:pt x="0" y="38414"/>
                </a:moveTo>
                <a:cubicBezTo>
                  <a:pt x="0" y="17199"/>
                  <a:pt x="17199" y="0"/>
                  <a:pt x="38414" y="0"/>
                </a:cubicBezTo>
                <a:lnTo>
                  <a:pt x="854979" y="0"/>
                </a:lnTo>
                <a:cubicBezTo>
                  <a:pt x="876194" y="0"/>
                  <a:pt x="893393" y="17199"/>
                  <a:pt x="893393" y="38414"/>
                </a:cubicBezTo>
                <a:lnTo>
                  <a:pt x="893393" y="345730"/>
                </a:lnTo>
                <a:cubicBezTo>
                  <a:pt x="893393" y="366945"/>
                  <a:pt x="876194" y="384144"/>
                  <a:pt x="854979" y="384144"/>
                </a:cubicBezTo>
                <a:lnTo>
                  <a:pt x="38414" y="384144"/>
                </a:lnTo>
                <a:cubicBezTo>
                  <a:pt x="17199" y="384144"/>
                  <a:pt x="0" y="366945"/>
                  <a:pt x="0" y="345730"/>
                </a:cubicBezTo>
                <a:lnTo>
                  <a:pt x="0" y="38414"/>
                </a:lnTo>
                <a:close/>
              </a:path>
            </a:pathLst>
          </a:custGeom>
          <a:solidFill>
            <a:srgbClr val="F0F5FA"/>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marL="0" lvl="0" indent="0" algn="ctr" defTabSz="466725">
              <a:lnSpc>
                <a:spcPct val="90000"/>
              </a:lnSpc>
              <a:spcBef>
                <a:spcPct val="0"/>
              </a:spcBef>
              <a:spcAft>
                <a:spcPct val="35000"/>
              </a:spcAft>
              <a:buClr>
                <a:srgbClr val="F0AB00"/>
              </a:buClr>
              <a:buSzPct val="100000"/>
              <a:buFont typeface="Wingdings" pitchFamily="2" charset="2"/>
              <a:buNone/>
            </a:pPr>
            <a:r>
              <a:rPr kumimoji="0" lang="en-US" sz="1050" b="0" i="0" u="none" strike="noStrike" kern="1200" cap="none" spc="0" normalizeH="0" baseline="0" noProof="0">
                <a:ln/>
                <a:solidFill>
                  <a:schemeClr val="tx1"/>
                </a:solidFill>
                <a:effectLst/>
                <a:uLnTx/>
                <a:uFillTx/>
                <a:latin typeface="Arial"/>
                <a:ea typeface="+mn-ea"/>
                <a:cs typeface="+mn-cs"/>
              </a:rPr>
              <a:t>Edge global server load balancing</a:t>
            </a:r>
          </a:p>
        </p:txBody>
      </p:sp>
      <p:sp>
        <p:nvSpPr>
          <p:cNvPr id="6" name="Freeform: Shape 5">
            <a:extLst>
              <a:ext uri="{FF2B5EF4-FFF2-40B4-BE49-F238E27FC236}">
                <a16:creationId xmlns:a16="http://schemas.microsoft.com/office/drawing/2014/main" id="{B8B8E708-3078-FF48-9A87-3ED8F330FC40}"/>
              </a:ext>
            </a:extLst>
          </p:cNvPr>
          <p:cNvSpPr/>
          <p:nvPr/>
        </p:nvSpPr>
        <p:spPr>
          <a:xfrm>
            <a:off x="2762415" y="3127275"/>
            <a:ext cx="1332000" cy="421200"/>
          </a:xfrm>
          <a:custGeom>
            <a:avLst/>
            <a:gdLst>
              <a:gd name="connsiteX0" fmla="*/ 0 w 893393"/>
              <a:gd name="connsiteY0" fmla="*/ 38414 h 384144"/>
              <a:gd name="connsiteX1" fmla="*/ 38414 w 893393"/>
              <a:gd name="connsiteY1" fmla="*/ 0 h 384144"/>
              <a:gd name="connsiteX2" fmla="*/ 854979 w 893393"/>
              <a:gd name="connsiteY2" fmla="*/ 0 h 384144"/>
              <a:gd name="connsiteX3" fmla="*/ 893393 w 893393"/>
              <a:gd name="connsiteY3" fmla="*/ 38414 h 384144"/>
              <a:gd name="connsiteX4" fmla="*/ 893393 w 893393"/>
              <a:gd name="connsiteY4" fmla="*/ 345730 h 384144"/>
              <a:gd name="connsiteX5" fmla="*/ 854979 w 893393"/>
              <a:gd name="connsiteY5" fmla="*/ 384144 h 384144"/>
              <a:gd name="connsiteX6" fmla="*/ 38414 w 893393"/>
              <a:gd name="connsiteY6" fmla="*/ 384144 h 384144"/>
              <a:gd name="connsiteX7" fmla="*/ 0 w 893393"/>
              <a:gd name="connsiteY7" fmla="*/ 345730 h 384144"/>
              <a:gd name="connsiteX8" fmla="*/ 0 w 893393"/>
              <a:gd name="connsiteY8" fmla="*/ 38414 h 3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393" h="384144">
                <a:moveTo>
                  <a:pt x="0" y="38414"/>
                </a:moveTo>
                <a:cubicBezTo>
                  <a:pt x="0" y="17199"/>
                  <a:pt x="17199" y="0"/>
                  <a:pt x="38414" y="0"/>
                </a:cubicBezTo>
                <a:lnTo>
                  <a:pt x="854979" y="0"/>
                </a:lnTo>
                <a:cubicBezTo>
                  <a:pt x="876194" y="0"/>
                  <a:pt x="893393" y="17199"/>
                  <a:pt x="893393" y="38414"/>
                </a:cubicBezTo>
                <a:lnTo>
                  <a:pt x="893393" y="345730"/>
                </a:lnTo>
                <a:cubicBezTo>
                  <a:pt x="893393" y="366945"/>
                  <a:pt x="876194" y="384144"/>
                  <a:pt x="854979" y="384144"/>
                </a:cubicBezTo>
                <a:lnTo>
                  <a:pt x="38414" y="384144"/>
                </a:lnTo>
                <a:cubicBezTo>
                  <a:pt x="17199" y="384144"/>
                  <a:pt x="0" y="366945"/>
                  <a:pt x="0" y="345730"/>
                </a:cubicBezTo>
                <a:lnTo>
                  <a:pt x="0" y="38414"/>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algn="ctr" defTabSz="466725">
              <a:lnSpc>
                <a:spcPct val="90000"/>
              </a:lnSpc>
              <a:spcBef>
                <a:spcPct val="0"/>
              </a:spcBef>
              <a:spcAft>
                <a:spcPct val="35000"/>
              </a:spcAft>
              <a:buClr>
                <a:srgbClr val="F0AB00"/>
              </a:buClr>
              <a:buSzPct val="100000"/>
            </a:pPr>
            <a:r>
              <a:rPr lang="en-US" sz="1050">
                <a:ln/>
                <a:latin typeface="Arial"/>
              </a:rPr>
              <a:t>Path and variable based routing</a:t>
            </a:r>
            <a:br>
              <a:rPr lang="en-US" sz="1050">
                <a:ln/>
                <a:latin typeface="Arial"/>
              </a:rPr>
            </a:br>
            <a:r>
              <a:rPr lang="en-US" sz="1050">
                <a:ln/>
                <a:latin typeface="Arial"/>
              </a:rPr>
              <a:t>(Common Domain)</a:t>
            </a:r>
          </a:p>
        </p:txBody>
      </p:sp>
      <p:sp>
        <p:nvSpPr>
          <p:cNvPr id="8" name="Freeform: Shape 7">
            <a:extLst>
              <a:ext uri="{FF2B5EF4-FFF2-40B4-BE49-F238E27FC236}">
                <a16:creationId xmlns:a16="http://schemas.microsoft.com/office/drawing/2014/main" id="{F76C7385-F9EF-6C2C-50B2-188B31612BC0}"/>
              </a:ext>
            </a:extLst>
          </p:cNvPr>
          <p:cNvSpPr/>
          <p:nvPr/>
        </p:nvSpPr>
        <p:spPr>
          <a:xfrm>
            <a:off x="2762415" y="4120931"/>
            <a:ext cx="1332000" cy="421200"/>
          </a:xfrm>
          <a:custGeom>
            <a:avLst/>
            <a:gdLst>
              <a:gd name="connsiteX0" fmla="*/ 0 w 893393"/>
              <a:gd name="connsiteY0" fmla="*/ 38414 h 384144"/>
              <a:gd name="connsiteX1" fmla="*/ 38414 w 893393"/>
              <a:gd name="connsiteY1" fmla="*/ 0 h 384144"/>
              <a:gd name="connsiteX2" fmla="*/ 854979 w 893393"/>
              <a:gd name="connsiteY2" fmla="*/ 0 h 384144"/>
              <a:gd name="connsiteX3" fmla="*/ 893393 w 893393"/>
              <a:gd name="connsiteY3" fmla="*/ 38414 h 384144"/>
              <a:gd name="connsiteX4" fmla="*/ 893393 w 893393"/>
              <a:gd name="connsiteY4" fmla="*/ 345730 h 384144"/>
              <a:gd name="connsiteX5" fmla="*/ 854979 w 893393"/>
              <a:gd name="connsiteY5" fmla="*/ 384144 h 384144"/>
              <a:gd name="connsiteX6" fmla="*/ 38414 w 893393"/>
              <a:gd name="connsiteY6" fmla="*/ 384144 h 384144"/>
              <a:gd name="connsiteX7" fmla="*/ 0 w 893393"/>
              <a:gd name="connsiteY7" fmla="*/ 345730 h 384144"/>
              <a:gd name="connsiteX8" fmla="*/ 0 w 893393"/>
              <a:gd name="connsiteY8" fmla="*/ 38414 h 3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393" h="384144">
                <a:moveTo>
                  <a:pt x="0" y="38414"/>
                </a:moveTo>
                <a:cubicBezTo>
                  <a:pt x="0" y="17199"/>
                  <a:pt x="17199" y="0"/>
                  <a:pt x="38414" y="0"/>
                </a:cubicBezTo>
                <a:lnTo>
                  <a:pt x="854979" y="0"/>
                </a:lnTo>
                <a:cubicBezTo>
                  <a:pt x="876194" y="0"/>
                  <a:pt x="893393" y="17199"/>
                  <a:pt x="893393" y="38414"/>
                </a:cubicBezTo>
                <a:lnTo>
                  <a:pt x="893393" y="345730"/>
                </a:lnTo>
                <a:cubicBezTo>
                  <a:pt x="893393" y="366945"/>
                  <a:pt x="876194" y="384144"/>
                  <a:pt x="854979" y="384144"/>
                </a:cubicBezTo>
                <a:lnTo>
                  <a:pt x="38414" y="384144"/>
                </a:lnTo>
                <a:cubicBezTo>
                  <a:pt x="17199" y="384144"/>
                  <a:pt x="0" y="366945"/>
                  <a:pt x="0" y="345730"/>
                </a:cubicBezTo>
                <a:lnTo>
                  <a:pt x="0" y="38414"/>
                </a:lnTo>
                <a:close/>
              </a:path>
            </a:pathLst>
          </a:custGeom>
          <a:solidFill>
            <a:srgbClr val="F0F5FA"/>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marL="0" lvl="0" indent="0" algn="ctr" defTabSz="466725">
              <a:lnSpc>
                <a:spcPct val="90000"/>
              </a:lnSpc>
              <a:spcBef>
                <a:spcPct val="0"/>
              </a:spcBef>
              <a:spcAft>
                <a:spcPct val="35000"/>
              </a:spcAft>
              <a:buClr>
                <a:srgbClr val="F0AB00"/>
              </a:buClr>
              <a:buSzPct val="100000"/>
              <a:buFont typeface="Wingdings" pitchFamily="2" charset="2"/>
              <a:buNone/>
            </a:pPr>
            <a:r>
              <a:rPr kumimoji="0" lang="en-US" sz="1050" b="0" i="0" u="none" strike="noStrike" kern="1200" cap="none" spc="0" normalizeH="0" baseline="0" noProof="0">
                <a:ln/>
                <a:effectLst/>
                <a:uLnTx/>
                <a:uFillTx/>
                <a:latin typeface="Arial"/>
                <a:ea typeface="+mn-ea"/>
                <a:cs typeface="+mn-cs"/>
              </a:rPr>
              <a:t>Smart routing</a:t>
            </a:r>
          </a:p>
        </p:txBody>
      </p:sp>
      <p:sp>
        <p:nvSpPr>
          <p:cNvPr id="25" name="Freeform: Shape 24">
            <a:extLst>
              <a:ext uri="{FF2B5EF4-FFF2-40B4-BE49-F238E27FC236}">
                <a16:creationId xmlns:a16="http://schemas.microsoft.com/office/drawing/2014/main" id="{CF059BB5-038F-12D1-057D-122AEE9EC2FD}"/>
              </a:ext>
            </a:extLst>
          </p:cNvPr>
          <p:cNvSpPr/>
          <p:nvPr/>
        </p:nvSpPr>
        <p:spPr>
          <a:xfrm>
            <a:off x="10160735" y="2630447"/>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marL="0" lvl="0" indent="0" algn="ctr" defTabSz="622300">
              <a:lnSpc>
                <a:spcPct val="90000"/>
              </a:lnSpc>
              <a:spcBef>
                <a:spcPct val="0"/>
              </a:spcBef>
              <a:spcAft>
                <a:spcPct val="35000"/>
              </a:spcAft>
              <a:buNone/>
            </a:pPr>
            <a:r>
              <a:rPr lang="en-US" sz="1050" b="0" kern="1200"/>
              <a:t>IP Geo-Blocking</a:t>
            </a:r>
          </a:p>
        </p:txBody>
      </p:sp>
      <p:sp>
        <p:nvSpPr>
          <p:cNvPr id="26" name="Freeform: Shape 25">
            <a:extLst>
              <a:ext uri="{FF2B5EF4-FFF2-40B4-BE49-F238E27FC236}">
                <a16:creationId xmlns:a16="http://schemas.microsoft.com/office/drawing/2014/main" id="{155F87C7-3530-F9F8-4DBE-9603E4AC1960}"/>
              </a:ext>
            </a:extLst>
          </p:cNvPr>
          <p:cNvSpPr/>
          <p:nvPr/>
        </p:nvSpPr>
        <p:spPr>
          <a:xfrm>
            <a:off x="10160735" y="3127275"/>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pPr>
            <a:r>
              <a:rPr lang="en-US" sz="1050">
                <a:ln/>
                <a:latin typeface="Arial"/>
              </a:rPr>
              <a:t>Upstream mTLS</a:t>
            </a:r>
          </a:p>
        </p:txBody>
      </p:sp>
      <p:sp>
        <p:nvSpPr>
          <p:cNvPr id="27" name="Freeform: Shape 26">
            <a:extLst>
              <a:ext uri="{FF2B5EF4-FFF2-40B4-BE49-F238E27FC236}">
                <a16:creationId xmlns:a16="http://schemas.microsoft.com/office/drawing/2014/main" id="{7CD78373-7B34-3DE2-3D53-07F37C4A745C}"/>
              </a:ext>
            </a:extLst>
          </p:cNvPr>
          <p:cNvSpPr/>
          <p:nvPr/>
        </p:nvSpPr>
        <p:spPr>
          <a:xfrm>
            <a:off x="10160735" y="3624103"/>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pPr>
            <a:r>
              <a:rPr lang="en-US" sz="1050">
                <a:ln/>
                <a:latin typeface="Arial"/>
              </a:rPr>
              <a:t>Rate limit</a:t>
            </a:r>
          </a:p>
        </p:txBody>
      </p:sp>
      <p:sp>
        <p:nvSpPr>
          <p:cNvPr id="28" name="Freeform: Shape 27">
            <a:extLst>
              <a:ext uri="{FF2B5EF4-FFF2-40B4-BE49-F238E27FC236}">
                <a16:creationId xmlns:a16="http://schemas.microsoft.com/office/drawing/2014/main" id="{5AF09C6A-BAE9-BE83-EE71-2E5ACF51B5E1}"/>
              </a:ext>
            </a:extLst>
          </p:cNvPr>
          <p:cNvSpPr/>
          <p:nvPr/>
        </p:nvSpPr>
        <p:spPr>
          <a:xfrm>
            <a:off x="10160735" y="4120931"/>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pPr>
            <a:r>
              <a:rPr lang="en-US" sz="1050">
                <a:ln/>
                <a:latin typeface="Arial"/>
              </a:rPr>
              <a:t>Authentication</a:t>
            </a:r>
            <a:br>
              <a:rPr lang="en-US" sz="1050">
                <a:ln/>
                <a:latin typeface="Arial"/>
              </a:rPr>
            </a:br>
            <a:r>
              <a:rPr lang="en-US" sz="800">
                <a:ln/>
                <a:latin typeface="Arial"/>
              </a:rPr>
              <a:t>e.g. JWT validation, client certificate/</a:t>
            </a:r>
          </a:p>
        </p:txBody>
      </p:sp>
      <p:sp>
        <p:nvSpPr>
          <p:cNvPr id="29" name="Freeform: Shape 28">
            <a:extLst>
              <a:ext uri="{FF2B5EF4-FFF2-40B4-BE49-F238E27FC236}">
                <a16:creationId xmlns:a16="http://schemas.microsoft.com/office/drawing/2014/main" id="{6CA30D84-580B-7BE9-9BD8-09F6BDDA5C69}"/>
              </a:ext>
            </a:extLst>
          </p:cNvPr>
          <p:cNvSpPr/>
          <p:nvPr/>
        </p:nvSpPr>
        <p:spPr>
          <a:xfrm>
            <a:off x="10160735" y="4617759"/>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F0F5FA"/>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pPr>
            <a:r>
              <a:rPr lang="en-US" sz="1050"/>
              <a:t>IPS/IDS</a:t>
            </a:r>
            <a:br>
              <a:rPr lang="en-US" sz="1050"/>
            </a:br>
            <a:r>
              <a:rPr lang="en-US" sz="800"/>
              <a:t>(Intrusion Detection &amp; Prevention system)`</a:t>
            </a:r>
          </a:p>
        </p:txBody>
      </p:sp>
      <p:sp>
        <p:nvSpPr>
          <p:cNvPr id="30" name="Freeform: Shape 29">
            <a:extLst>
              <a:ext uri="{FF2B5EF4-FFF2-40B4-BE49-F238E27FC236}">
                <a16:creationId xmlns:a16="http://schemas.microsoft.com/office/drawing/2014/main" id="{3631E924-1B5D-0918-EE91-DD800DF4A4F4}"/>
              </a:ext>
            </a:extLst>
          </p:cNvPr>
          <p:cNvSpPr/>
          <p:nvPr/>
        </p:nvSpPr>
        <p:spPr>
          <a:xfrm>
            <a:off x="10160735" y="5114587"/>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F0F5FA"/>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pPr>
            <a:r>
              <a:rPr lang="en-US" sz="1050">
                <a:ln/>
                <a:latin typeface="Arial"/>
              </a:rPr>
              <a:t>Private network</a:t>
            </a:r>
          </a:p>
        </p:txBody>
      </p:sp>
      <p:sp>
        <p:nvSpPr>
          <p:cNvPr id="31" name="Freeform: Shape 30">
            <a:extLst>
              <a:ext uri="{FF2B5EF4-FFF2-40B4-BE49-F238E27FC236}">
                <a16:creationId xmlns:a16="http://schemas.microsoft.com/office/drawing/2014/main" id="{FBDD7F43-1625-BC2C-1580-2FBFE2DEB6C7}"/>
              </a:ext>
            </a:extLst>
          </p:cNvPr>
          <p:cNvSpPr/>
          <p:nvPr/>
        </p:nvSpPr>
        <p:spPr>
          <a:xfrm>
            <a:off x="1233981" y="3127520"/>
            <a:ext cx="1332000" cy="421200"/>
          </a:xfrm>
          <a:custGeom>
            <a:avLst/>
            <a:gdLst>
              <a:gd name="connsiteX0" fmla="*/ 0 w 893393"/>
              <a:gd name="connsiteY0" fmla="*/ 38414 h 384144"/>
              <a:gd name="connsiteX1" fmla="*/ 38414 w 893393"/>
              <a:gd name="connsiteY1" fmla="*/ 0 h 384144"/>
              <a:gd name="connsiteX2" fmla="*/ 854979 w 893393"/>
              <a:gd name="connsiteY2" fmla="*/ 0 h 384144"/>
              <a:gd name="connsiteX3" fmla="*/ 893393 w 893393"/>
              <a:gd name="connsiteY3" fmla="*/ 38414 h 384144"/>
              <a:gd name="connsiteX4" fmla="*/ 893393 w 893393"/>
              <a:gd name="connsiteY4" fmla="*/ 345730 h 384144"/>
              <a:gd name="connsiteX5" fmla="*/ 854979 w 893393"/>
              <a:gd name="connsiteY5" fmla="*/ 384144 h 384144"/>
              <a:gd name="connsiteX6" fmla="*/ 38414 w 893393"/>
              <a:gd name="connsiteY6" fmla="*/ 384144 h 384144"/>
              <a:gd name="connsiteX7" fmla="*/ 0 w 893393"/>
              <a:gd name="connsiteY7" fmla="*/ 345730 h 384144"/>
              <a:gd name="connsiteX8" fmla="*/ 0 w 893393"/>
              <a:gd name="connsiteY8" fmla="*/ 38414 h 3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393" h="384144">
                <a:moveTo>
                  <a:pt x="0" y="38414"/>
                </a:moveTo>
                <a:cubicBezTo>
                  <a:pt x="0" y="17199"/>
                  <a:pt x="17199" y="0"/>
                  <a:pt x="38414" y="0"/>
                </a:cubicBezTo>
                <a:lnTo>
                  <a:pt x="854979" y="0"/>
                </a:lnTo>
                <a:cubicBezTo>
                  <a:pt x="876194" y="0"/>
                  <a:pt x="893393" y="17199"/>
                  <a:pt x="893393" y="38414"/>
                </a:cubicBezTo>
                <a:lnTo>
                  <a:pt x="893393" y="345730"/>
                </a:lnTo>
                <a:cubicBezTo>
                  <a:pt x="893393" y="366945"/>
                  <a:pt x="876194" y="384144"/>
                  <a:pt x="854979" y="384144"/>
                </a:cubicBezTo>
                <a:lnTo>
                  <a:pt x="38414" y="384144"/>
                </a:lnTo>
                <a:cubicBezTo>
                  <a:pt x="17199" y="384144"/>
                  <a:pt x="0" y="366945"/>
                  <a:pt x="0" y="345730"/>
                </a:cubicBezTo>
                <a:lnTo>
                  <a:pt x="0" y="38414"/>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marL="0" lvl="0" indent="0" algn="ctr" defTabSz="466725">
              <a:lnSpc>
                <a:spcPct val="90000"/>
              </a:lnSpc>
              <a:spcBef>
                <a:spcPct val="0"/>
              </a:spcBef>
              <a:spcAft>
                <a:spcPct val="35000"/>
              </a:spcAft>
              <a:buClr>
                <a:srgbClr val="F0AB00"/>
              </a:buClr>
              <a:buSzPct val="100000"/>
              <a:buFont typeface="Wingdings" pitchFamily="2" charset="2"/>
              <a:buNone/>
            </a:pPr>
            <a:r>
              <a:rPr kumimoji="0" lang="en-US" sz="1050" i="0" u="none" strike="noStrike" kern="1200" cap="none" spc="0" normalizeH="0" baseline="0" noProof="0">
                <a:ln/>
                <a:effectLst/>
                <a:uLnTx/>
                <a:uFillTx/>
                <a:latin typeface="Arial"/>
                <a:ea typeface="+mn-ea"/>
                <a:cs typeface="+mn-cs"/>
              </a:rPr>
              <a:t>Certificated management</a:t>
            </a:r>
            <a:endParaRPr lang="en-US" sz="1050" kern="1200"/>
          </a:p>
        </p:txBody>
      </p:sp>
      <p:sp>
        <p:nvSpPr>
          <p:cNvPr id="3" name="Title 2">
            <a:extLst>
              <a:ext uri="{FF2B5EF4-FFF2-40B4-BE49-F238E27FC236}">
                <a16:creationId xmlns:a16="http://schemas.microsoft.com/office/drawing/2014/main" id="{7297BE19-B015-466D-93F5-F75B3E3A4168}"/>
              </a:ext>
            </a:extLst>
          </p:cNvPr>
          <p:cNvSpPr>
            <a:spLocks noGrp="1"/>
          </p:cNvSpPr>
          <p:nvPr>
            <p:ph type="title"/>
          </p:nvPr>
        </p:nvSpPr>
        <p:spPr/>
        <p:txBody>
          <a:bodyPr/>
          <a:lstStyle/>
          <a:p>
            <a:r>
              <a:rPr lang="en-US" sz="2350">
                <a:cs typeface="Arial"/>
              </a:rPr>
              <a:t>UGW Potential Future Direction</a:t>
            </a:r>
            <a:endParaRPr lang="en-US"/>
          </a:p>
        </p:txBody>
      </p:sp>
      <p:sp>
        <p:nvSpPr>
          <p:cNvPr id="32" name="Freeform: Shape 31">
            <a:extLst>
              <a:ext uri="{FF2B5EF4-FFF2-40B4-BE49-F238E27FC236}">
                <a16:creationId xmlns:a16="http://schemas.microsoft.com/office/drawing/2014/main" id="{A8E0D3D8-573D-575A-8F46-3F2BD8ED2F32}"/>
              </a:ext>
            </a:extLst>
          </p:cNvPr>
          <p:cNvSpPr/>
          <p:nvPr/>
        </p:nvSpPr>
        <p:spPr>
          <a:xfrm>
            <a:off x="6509473" y="2630447"/>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pPr>
            <a:r>
              <a:rPr lang="en-US" sz="1050"/>
              <a:t>Generate and log Request ID</a:t>
            </a:r>
          </a:p>
        </p:txBody>
      </p:sp>
      <p:sp>
        <p:nvSpPr>
          <p:cNvPr id="33" name="Freeform: Shape 32">
            <a:extLst>
              <a:ext uri="{FF2B5EF4-FFF2-40B4-BE49-F238E27FC236}">
                <a16:creationId xmlns:a16="http://schemas.microsoft.com/office/drawing/2014/main" id="{4E8C669E-8CFA-AA41-44EC-DB26E57EE75F}"/>
              </a:ext>
            </a:extLst>
          </p:cNvPr>
          <p:cNvSpPr/>
          <p:nvPr/>
        </p:nvSpPr>
        <p:spPr>
          <a:xfrm>
            <a:off x="6509473" y="3127275"/>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marL="0" lvl="0" indent="0" algn="ctr" defTabSz="622300">
              <a:lnSpc>
                <a:spcPct val="90000"/>
              </a:lnSpc>
              <a:spcBef>
                <a:spcPct val="0"/>
              </a:spcBef>
              <a:spcAft>
                <a:spcPct val="35000"/>
              </a:spcAft>
              <a:buNone/>
            </a:pPr>
            <a:r>
              <a:rPr lang="en-US" sz="1050"/>
              <a:t>Performance and SLA metrics</a:t>
            </a:r>
            <a:endParaRPr lang="en-US" sz="1050" b="0" kern="1200"/>
          </a:p>
        </p:txBody>
      </p:sp>
      <p:sp>
        <p:nvSpPr>
          <p:cNvPr id="34" name="Freeform: Shape 33">
            <a:extLst>
              <a:ext uri="{FF2B5EF4-FFF2-40B4-BE49-F238E27FC236}">
                <a16:creationId xmlns:a16="http://schemas.microsoft.com/office/drawing/2014/main" id="{C6DB7E15-7610-84FF-32F9-FB4DF3C5D31E}"/>
              </a:ext>
            </a:extLst>
          </p:cNvPr>
          <p:cNvSpPr/>
          <p:nvPr/>
        </p:nvSpPr>
        <p:spPr>
          <a:xfrm>
            <a:off x="6509473" y="3624103"/>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pPr>
            <a:r>
              <a:rPr lang="en-US" sz="1050"/>
              <a:t>Tenant identification </a:t>
            </a:r>
            <a:r>
              <a:rPr lang="en-US" sz="800"/>
              <a:t>based on custom expression</a:t>
            </a:r>
            <a:endParaRPr lang="en-US" sz="1050"/>
          </a:p>
        </p:txBody>
      </p:sp>
      <p:sp>
        <p:nvSpPr>
          <p:cNvPr id="35" name="Freeform: Shape 34">
            <a:extLst>
              <a:ext uri="{FF2B5EF4-FFF2-40B4-BE49-F238E27FC236}">
                <a16:creationId xmlns:a16="http://schemas.microsoft.com/office/drawing/2014/main" id="{A108813C-DAFB-74CE-B29E-91B3286E25C3}"/>
              </a:ext>
            </a:extLst>
          </p:cNvPr>
          <p:cNvSpPr/>
          <p:nvPr/>
        </p:nvSpPr>
        <p:spPr>
          <a:xfrm>
            <a:off x="6509473" y="4120931"/>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F0F5FA"/>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marL="0" lvl="0" indent="0" algn="ctr" defTabSz="622300">
              <a:lnSpc>
                <a:spcPct val="90000"/>
              </a:lnSpc>
              <a:spcBef>
                <a:spcPct val="0"/>
              </a:spcBef>
              <a:spcAft>
                <a:spcPct val="35000"/>
              </a:spcAft>
              <a:buNone/>
            </a:pPr>
            <a:r>
              <a:rPr lang="en-US" sz="1050" b="0" kern="1200">
                <a:solidFill>
                  <a:schemeClr val="tx1"/>
                </a:solidFill>
              </a:rPr>
              <a:t>Geographic traffic visualization</a:t>
            </a:r>
          </a:p>
        </p:txBody>
      </p:sp>
      <p:sp>
        <p:nvSpPr>
          <p:cNvPr id="36" name="Freeform: Shape 35">
            <a:extLst>
              <a:ext uri="{FF2B5EF4-FFF2-40B4-BE49-F238E27FC236}">
                <a16:creationId xmlns:a16="http://schemas.microsoft.com/office/drawing/2014/main" id="{69B366A7-F7A5-7CD5-AB5B-A5090774A12F}"/>
              </a:ext>
            </a:extLst>
          </p:cNvPr>
          <p:cNvSpPr/>
          <p:nvPr/>
        </p:nvSpPr>
        <p:spPr>
          <a:xfrm>
            <a:off x="6509473" y="4617759"/>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F0F5FA"/>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buClr>
                <a:srgbClr val="F0AB00"/>
              </a:buClr>
              <a:buSzPct val="100000"/>
            </a:pPr>
            <a:r>
              <a:rPr lang="en-US" sz="1050"/>
              <a:t>Distributed tracing</a:t>
            </a:r>
          </a:p>
        </p:txBody>
      </p:sp>
      <p:sp>
        <p:nvSpPr>
          <p:cNvPr id="37" name="Freeform: Shape 36">
            <a:extLst>
              <a:ext uri="{FF2B5EF4-FFF2-40B4-BE49-F238E27FC236}">
                <a16:creationId xmlns:a16="http://schemas.microsoft.com/office/drawing/2014/main" id="{B5D1B737-DA32-E4DC-4571-57815F1F585E}"/>
              </a:ext>
            </a:extLst>
          </p:cNvPr>
          <p:cNvSpPr/>
          <p:nvPr/>
        </p:nvSpPr>
        <p:spPr>
          <a:xfrm>
            <a:off x="4981038" y="4119461"/>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F0F5FA"/>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marL="0" lvl="0" indent="0" algn="ctr" defTabSz="622300">
              <a:lnSpc>
                <a:spcPct val="90000"/>
              </a:lnSpc>
              <a:spcBef>
                <a:spcPct val="0"/>
              </a:spcBef>
              <a:spcAft>
                <a:spcPct val="35000"/>
              </a:spcAft>
              <a:buClr>
                <a:srgbClr val="F0AB00"/>
              </a:buClr>
              <a:buSzPct val="100000"/>
              <a:buFont typeface="Wingdings" pitchFamily="2" charset="2"/>
              <a:buNone/>
            </a:pPr>
            <a:r>
              <a:rPr lang="en-US" sz="1050" b="0" kern="1200"/>
              <a:t>Friendly traffic identification</a:t>
            </a:r>
          </a:p>
        </p:txBody>
      </p:sp>
      <p:sp>
        <p:nvSpPr>
          <p:cNvPr id="38" name="Freeform: Shape 37">
            <a:extLst>
              <a:ext uri="{FF2B5EF4-FFF2-40B4-BE49-F238E27FC236}">
                <a16:creationId xmlns:a16="http://schemas.microsoft.com/office/drawing/2014/main" id="{1A2784D1-96D2-6584-B3FE-82E7683396B1}"/>
              </a:ext>
            </a:extLst>
          </p:cNvPr>
          <p:cNvSpPr/>
          <p:nvPr/>
        </p:nvSpPr>
        <p:spPr>
          <a:xfrm>
            <a:off x="4981038" y="4617023"/>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F0F5FA"/>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buClr>
                <a:srgbClr val="F0AB00"/>
              </a:buClr>
              <a:buSzPct val="100000"/>
            </a:pPr>
            <a:r>
              <a:rPr lang="en-US" sz="1050"/>
              <a:t>Abnormal traffic patterns alerts</a:t>
            </a:r>
          </a:p>
        </p:txBody>
      </p:sp>
      <p:sp>
        <p:nvSpPr>
          <p:cNvPr id="4" name="Freeform: Shape 3">
            <a:extLst>
              <a:ext uri="{FF2B5EF4-FFF2-40B4-BE49-F238E27FC236}">
                <a16:creationId xmlns:a16="http://schemas.microsoft.com/office/drawing/2014/main" id="{53AC5B3E-7663-1FBF-DC25-F6AC281DFC1B}"/>
              </a:ext>
            </a:extLst>
          </p:cNvPr>
          <p:cNvSpPr/>
          <p:nvPr/>
        </p:nvSpPr>
        <p:spPr>
          <a:xfrm>
            <a:off x="10503462" y="6316891"/>
            <a:ext cx="1426295" cy="354026"/>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F0F5FA"/>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marL="0" lvl="0" indent="0" algn="ctr" defTabSz="622300">
              <a:lnSpc>
                <a:spcPct val="90000"/>
              </a:lnSpc>
              <a:spcBef>
                <a:spcPct val="0"/>
              </a:spcBef>
              <a:spcAft>
                <a:spcPct val="35000"/>
              </a:spcAft>
              <a:buClr>
                <a:srgbClr val="F0AB00"/>
              </a:buClr>
              <a:buSzPct val="100000"/>
              <a:buFont typeface="Wingdings" pitchFamily="2" charset="2"/>
              <a:buNone/>
            </a:pPr>
            <a:r>
              <a:rPr lang="en-US" sz="1050" b="0" kern="1200"/>
              <a:t>Planned / Opportunity</a:t>
            </a:r>
          </a:p>
        </p:txBody>
      </p:sp>
      <p:sp>
        <p:nvSpPr>
          <p:cNvPr id="39" name="Freeform: Shape 38">
            <a:extLst>
              <a:ext uri="{FF2B5EF4-FFF2-40B4-BE49-F238E27FC236}">
                <a16:creationId xmlns:a16="http://schemas.microsoft.com/office/drawing/2014/main" id="{D637A214-151A-E050-4B06-E9C4B6F916BC}"/>
              </a:ext>
            </a:extLst>
          </p:cNvPr>
          <p:cNvSpPr/>
          <p:nvPr/>
        </p:nvSpPr>
        <p:spPr>
          <a:xfrm>
            <a:off x="10503462" y="5898755"/>
            <a:ext cx="1426295" cy="354026"/>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marL="0" lvl="0" indent="0" algn="ctr" defTabSz="622300">
              <a:lnSpc>
                <a:spcPct val="90000"/>
              </a:lnSpc>
              <a:spcBef>
                <a:spcPct val="0"/>
              </a:spcBef>
              <a:spcAft>
                <a:spcPct val="35000"/>
              </a:spcAft>
              <a:buNone/>
            </a:pPr>
            <a:r>
              <a:rPr lang="en-US" sz="1050"/>
              <a:t>Available</a:t>
            </a:r>
            <a:endParaRPr lang="en-US" sz="1050" b="0" kern="1200"/>
          </a:p>
        </p:txBody>
      </p:sp>
      <p:sp>
        <p:nvSpPr>
          <p:cNvPr id="40" name="Freeform: Shape 39">
            <a:extLst>
              <a:ext uri="{FF2B5EF4-FFF2-40B4-BE49-F238E27FC236}">
                <a16:creationId xmlns:a16="http://schemas.microsoft.com/office/drawing/2014/main" id="{5149F9AC-936B-83B6-BFAB-34A6244F219B}"/>
              </a:ext>
            </a:extLst>
          </p:cNvPr>
          <p:cNvSpPr/>
          <p:nvPr/>
        </p:nvSpPr>
        <p:spPr>
          <a:xfrm>
            <a:off x="1233981" y="5115811"/>
            <a:ext cx="1332000" cy="421200"/>
          </a:xfrm>
          <a:custGeom>
            <a:avLst/>
            <a:gdLst>
              <a:gd name="connsiteX0" fmla="*/ 0 w 893393"/>
              <a:gd name="connsiteY0" fmla="*/ 38414 h 384144"/>
              <a:gd name="connsiteX1" fmla="*/ 38414 w 893393"/>
              <a:gd name="connsiteY1" fmla="*/ 0 h 384144"/>
              <a:gd name="connsiteX2" fmla="*/ 854979 w 893393"/>
              <a:gd name="connsiteY2" fmla="*/ 0 h 384144"/>
              <a:gd name="connsiteX3" fmla="*/ 893393 w 893393"/>
              <a:gd name="connsiteY3" fmla="*/ 38414 h 384144"/>
              <a:gd name="connsiteX4" fmla="*/ 893393 w 893393"/>
              <a:gd name="connsiteY4" fmla="*/ 345730 h 384144"/>
              <a:gd name="connsiteX5" fmla="*/ 854979 w 893393"/>
              <a:gd name="connsiteY5" fmla="*/ 384144 h 384144"/>
              <a:gd name="connsiteX6" fmla="*/ 38414 w 893393"/>
              <a:gd name="connsiteY6" fmla="*/ 384144 h 384144"/>
              <a:gd name="connsiteX7" fmla="*/ 0 w 893393"/>
              <a:gd name="connsiteY7" fmla="*/ 345730 h 384144"/>
              <a:gd name="connsiteX8" fmla="*/ 0 w 893393"/>
              <a:gd name="connsiteY8" fmla="*/ 38414 h 3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393" h="384144">
                <a:moveTo>
                  <a:pt x="0" y="38414"/>
                </a:moveTo>
                <a:cubicBezTo>
                  <a:pt x="0" y="17199"/>
                  <a:pt x="17199" y="0"/>
                  <a:pt x="38414" y="0"/>
                </a:cubicBezTo>
                <a:lnTo>
                  <a:pt x="854979" y="0"/>
                </a:lnTo>
                <a:cubicBezTo>
                  <a:pt x="876194" y="0"/>
                  <a:pt x="893393" y="17199"/>
                  <a:pt x="893393" y="38414"/>
                </a:cubicBezTo>
                <a:lnTo>
                  <a:pt x="893393" y="345730"/>
                </a:lnTo>
                <a:cubicBezTo>
                  <a:pt x="893393" y="366945"/>
                  <a:pt x="876194" y="384144"/>
                  <a:pt x="854979" y="384144"/>
                </a:cubicBezTo>
                <a:lnTo>
                  <a:pt x="38414" y="384144"/>
                </a:lnTo>
                <a:cubicBezTo>
                  <a:pt x="17199" y="384144"/>
                  <a:pt x="0" y="366945"/>
                  <a:pt x="0" y="345730"/>
                </a:cubicBezTo>
                <a:lnTo>
                  <a:pt x="0" y="38414"/>
                </a:lnTo>
                <a:close/>
              </a:path>
            </a:pathLst>
          </a:custGeom>
          <a:solidFill>
            <a:srgbClr val="F0F5FA"/>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marL="0" lvl="0" indent="0" algn="ctr" defTabSz="466725">
              <a:lnSpc>
                <a:spcPct val="90000"/>
              </a:lnSpc>
              <a:spcBef>
                <a:spcPct val="0"/>
              </a:spcBef>
              <a:spcAft>
                <a:spcPct val="35000"/>
              </a:spcAft>
              <a:buClr>
                <a:srgbClr val="F0AB00"/>
              </a:buClr>
              <a:buSzPct val="100000"/>
              <a:buFont typeface="Wingdings" pitchFamily="2" charset="2"/>
              <a:buNone/>
            </a:pPr>
            <a:r>
              <a:rPr kumimoji="0" lang="en-US" sz="1050" b="0" i="0" u="none" strike="noStrike" kern="1200" cap="none" spc="0" normalizeH="0" baseline="0" noProof="0">
                <a:ln/>
                <a:solidFill>
                  <a:schemeClr val="tx1"/>
                </a:solidFill>
                <a:effectLst/>
                <a:uLnTx/>
                <a:uFillTx/>
                <a:latin typeface="Arial"/>
                <a:ea typeface="+mn-ea"/>
                <a:cs typeface="+mn-cs"/>
              </a:rPr>
              <a:t>Geo-steering</a:t>
            </a:r>
          </a:p>
        </p:txBody>
      </p:sp>
      <p:sp>
        <p:nvSpPr>
          <p:cNvPr id="41" name="Freeform: Shape 40">
            <a:extLst>
              <a:ext uri="{FF2B5EF4-FFF2-40B4-BE49-F238E27FC236}">
                <a16:creationId xmlns:a16="http://schemas.microsoft.com/office/drawing/2014/main" id="{18B2B9F5-A463-A7DA-B6BB-A14078DE9630}"/>
              </a:ext>
            </a:extLst>
          </p:cNvPr>
          <p:cNvSpPr/>
          <p:nvPr/>
        </p:nvSpPr>
        <p:spPr>
          <a:xfrm>
            <a:off x="4981038" y="5114587"/>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F0F5FA"/>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buClr>
                <a:srgbClr val="F0AB00"/>
              </a:buClr>
              <a:buSzPct val="100000"/>
            </a:pPr>
            <a:r>
              <a:rPr lang="en-US" sz="1050"/>
              <a:t>Packet Inspection /  Low level protocols</a:t>
            </a:r>
          </a:p>
        </p:txBody>
      </p:sp>
      <p:sp>
        <p:nvSpPr>
          <p:cNvPr id="42" name="Freeform: Shape 41">
            <a:extLst>
              <a:ext uri="{FF2B5EF4-FFF2-40B4-BE49-F238E27FC236}">
                <a16:creationId xmlns:a16="http://schemas.microsoft.com/office/drawing/2014/main" id="{A08FBB49-5B7C-DCF2-CC8B-09FE44804AB6}"/>
              </a:ext>
            </a:extLst>
          </p:cNvPr>
          <p:cNvSpPr/>
          <p:nvPr/>
        </p:nvSpPr>
        <p:spPr>
          <a:xfrm>
            <a:off x="6514154" y="5114587"/>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F0F5FA"/>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marL="0" lvl="0" indent="0" algn="ctr" defTabSz="622300">
              <a:lnSpc>
                <a:spcPct val="90000"/>
              </a:lnSpc>
              <a:spcBef>
                <a:spcPct val="0"/>
              </a:spcBef>
              <a:spcAft>
                <a:spcPct val="35000"/>
              </a:spcAft>
              <a:buClr>
                <a:srgbClr val="F0AB00"/>
              </a:buClr>
              <a:buSzPct val="100000"/>
              <a:buFont typeface="Wingdings" pitchFamily="2" charset="2"/>
              <a:buNone/>
            </a:pPr>
            <a:r>
              <a:rPr lang="en-US" sz="1050">
                <a:solidFill>
                  <a:schemeClr val="tx1"/>
                </a:solidFill>
              </a:rPr>
              <a:t>And more…</a:t>
            </a:r>
            <a:endParaRPr lang="en-US" sz="1050" b="0" kern="1200">
              <a:solidFill>
                <a:schemeClr val="tx1"/>
              </a:solidFill>
            </a:endParaRPr>
          </a:p>
        </p:txBody>
      </p:sp>
      <p:sp>
        <p:nvSpPr>
          <p:cNvPr id="43" name="Freeform: Shape 42">
            <a:extLst>
              <a:ext uri="{FF2B5EF4-FFF2-40B4-BE49-F238E27FC236}">
                <a16:creationId xmlns:a16="http://schemas.microsoft.com/office/drawing/2014/main" id="{51CBBE7F-5C82-01CA-AC97-64B92EBF9D00}"/>
              </a:ext>
            </a:extLst>
          </p:cNvPr>
          <p:cNvSpPr/>
          <p:nvPr/>
        </p:nvSpPr>
        <p:spPr>
          <a:xfrm>
            <a:off x="2762415" y="5114587"/>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F0F5FA"/>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marL="0" lvl="0" indent="0" algn="ctr" defTabSz="622300">
              <a:lnSpc>
                <a:spcPct val="90000"/>
              </a:lnSpc>
              <a:spcBef>
                <a:spcPct val="0"/>
              </a:spcBef>
              <a:spcAft>
                <a:spcPct val="35000"/>
              </a:spcAft>
              <a:buClr>
                <a:srgbClr val="F0AB00"/>
              </a:buClr>
              <a:buSzPct val="100000"/>
              <a:buFont typeface="Wingdings" pitchFamily="2" charset="2"/>
              <a:buNone/>
            </a:pPr>
            <a:r>
              <a:rPr lang="en-US" sz="1050">
                <a:solidFill>
                  <a:schemeClr val="tx1"/>
                </a:solidFill>
              </a:rPr>
              <a:t>And more…</a:t>
            </a:r>
            <a:endParaRPr lang="en-US" sz="1050" b="0" kern="1200">
              <a:solidFill>
                <a:schemeClr val="tx1"/>
              </a:solidFill>
            </a:endParaRPr>
          </a:p>
        </p:txBody>
      </p:sp>
    </p:spTree>
    <p:extLst>
      <p:ext uri="{BB962C8B-B14F-4D97-AF65-F5344CB8AC3E}">
        <p14:creationId xmlns:p14="http://schemas.microsoft.com/office/powerpoint/2010/main" val="23052335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8CC69C-807C-E2D8-164E-F6B9AB4B3C21}"/>
              </a:ext>
            </a:extLst>
          </p:cNvPr>
          <p:cNvSpPr>
            <a:spLocks noGrp="1"/>
          </p:cNvSpPr>
          <p:nvPr>
            <p:ph type="ctrTitle"/>
          </p:nvPr>
        </p:nvSpPr>
        <p:spPr>
          <a:xfrm>
            <a:off x="504000" y="2407298"/>
            <a:ext cx="11185200" cy="1360256"/>
          </a:xfrm>
        </p:spPr>
        <p:txBody>
          <a:bodyPr/>
          <a:lstStyle/>
          <a:p>
            <a:r>
              <a:rPr lang="en-US"/>
              <a:t>Unified Gateway</a:t>
            </a:r>
            <a:br>
              <a:rPr lang="en-US"/>
            </a:br>
            <a:r>
              <a:rPr lang="en-US">
                <a:solidFill>
                  <a:schemeClr val="accent1"/>
                </a:solidFill>
              </a:rPr>
              <a:t>Architecture</a:t>
            </a:r>
          </a:p>
        </p:txBody>
      </p:sp>
    </p:spTree>
    <p:extLst>
      <p:ext uri="{BB962C8B-B14F-4D97-AF65-F5344CB8AC3E}">
        <p14:creationId xmlns:p14="http://schemas.microsoft.com/office/powerpoint/2010/main" val="42280263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F46BDA-8403-BE4E-035B-B83B60133AF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262678F-9D6C-74D2-387A-D64CF99E370C}"/>
              </a:ext>
            </a:extLst>
          </p:cNvPr>
          <p:cNvSpPr>
            <a:spLocks noGrp="1"/>
          </p:cNvSpPr>
          <p:nvPr>
            <p:ph type="title"/>
          </p:nvPr>
        </p:nvSpPr>
        <p:spPr/>
        <p:txBody>
          <a:bodyPr/>
          <a:lstStyle/>
          <a:p>
            <a:r>
              <a:rPr lang="en-US"/>
              <a:t>Abstract System Architecture</a:t>
            </a:r>
            <a:endParaRPr lang="en-IL"/>
          </a:p>
        </p:txBody>
      </p:sp>
      <p:sp>
        <p:nvSpPr>
          <p:cNvPr id="4" name="Text Placeholder 1">
            <a:extLst>
              <a:ext uri="{FF2B5EF4-FFF2-40B4-BE49-F238E27FC236}">
                <a16:creationId xmlns:a16="http://schemas.microsoft.com/office/drawing/2014/main" id="{38B4DDD7-F6C9-A739-801E-19FCB322F370}"/>
              </a:ext>
            </a:extLst>
          </p:cNvPr>
          <p:cNvSpPr>
            <a:spLocks noGrp="1"/>
          </p:cNvSpPr>
          <p:nvPr>
            <p:ph type="body" sz="quarter" idx="10"/>
          </p:nvPr>
        </p:nvSpPr>
        <p:spPr>
          <a:xfrm>
            <a:off x="7848600" y="1828800"/>
            <a:ext cx="3841875" cy="5015903"/>
          </a:xfrm>
        </p:spPr>
        <p:txBody>
          <a:bodyPr>
            <a:noAutofit/>
          </a:bodyPr>
          <a:lstStyle/>
          <a:p>
            <a:pPr marL="216000" indent="-216000" defTabSz="914400">
              <a:lnSpc>
                <a:spcPct val="110000"/>
              </a:lnSpc>
              <a:spcBef>
                <a:spcPts val="300"/>
              </a:spcBef>
              <a:buSzTx/>
              <a:buFont typeface="Arial" panose="020B0604020202020204" pitchFamily="34" charset="0"/>
              <a:buChar char="•"/>
              <a:defRPr/>
            </a:pPr>
            <a:r>
              <a:rPr kumimoji="0" lang="en-US" sz="1400" b="0" i="0" u="none" strike="noStrike" kern="1200" cap="none" spc="0" normalizeH="0" baseline="0" noProof="0">
                <a:ln>
                  <a:noFill/>
                </a:ln>
                <a:effectLst/>
                <a:uLnTx/>
                <a:uFillTx/>
                <a:ea typeface="+mn-ea"/>
                <a:cs typeface="+mn-cs"/>
              </a:rPr>
              <a:t>Center</a:t>
            </a:r>
          </a:p>
          <a:p>
            <a:pPr marL="648000" marR="0" lvl="1" indent="-216000" algn="l" defTabSz="914400" rtl="0" eaLnBrk="1" fontAlgn="auto" latinLnBrk="0" hangingPunct="1">
              <a:lnSpc>
                <a:spcPct val="110000"/>
              </a:lnSpc>
              <a:spcBef>
                <a:spcPts val="300"/>
              </a:spcBef>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ea typeface="+mn-ea"/>
                <a:cs typeface="+mn-cs"/>
              </a:rPr>
              <a:t>Business control plane</a:t>
            </a:r>
          </a:p>
          <a:p>
            <a:pPr marL="648000" marR="0" lvl="1" indent="-216000" algn="l" defTabSz="914400" rtl="0" eaLnBrk="1" fontAlgn="auto" latinLnBrk="0" hangingPunct="1">
              <a:lnSpc>
                <a:spcPct val="110000"/>
              </a:lnSpc>
              <a:spcBef>
                <a:spcPts val="300"/>
              </a:spcBef>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ea typeface="+mn-ea"/>
                <a:cs typeface="+mn-cs"/>
              </a:rPr>
              <a:t>Design-time </a:t>
            </a:r>
            <a:r>
              <a:rPr lang="en-US" sz="1200">
                <a:solidFill>
                  <a:srgbClr val="000000"/>
                </a:solidFill>
                <a:effectLst/>
                <a:ea typeface="Calibri" panose="020F0502020204030204" pitchFamily="34" charset="0"/>
              </a:rPr>
              <a:t>– </a:t>
            </a:r>
            <a:r>
              <a:rPr kumimoji="0" lang="en-US" sz="1200" b="0" i="0" u="none" strike="noStrike" kern="1200" cap="none" spc="0" normalizeH="0" baseline="0" noProof="0">
                <a:ln>
                  <a:noFill/>
                </a:ln>
                <a:solidFill>
                  <a:srgbClr val="000000"/>
                </a:solidFill>
                <a:effectLst/>
                <a:uLnTx/>
                <a:uFillTx/>
                <a:ea typeface="+mn-ea"/>
                <a:cs typeface="+mn-cs"/>
              </a:rPr>
              <a:t>Installation and Configuration of Edge clusters</a:t>
            </a:r>
          </a:p>
          <a:p>
            <a:pPr marL="648000" marR="0" lvl="1" indent="-216000" algn="l" defTabSz="914400" rtl="0" eaLnBrk="1" fontAlgn="auto" latinLnBrk="0" hangingPunct="1">
              <a:lnSpc>
                <a:spcPct val="110000"/>
              </a:lnSpc>
              <a:spcBef>
                <a:spcPts val="300"/>
              </a:spcBef>
              <a:buClrTx/>
              <a:buSzTx/>
              <a:buFont typeface="Arial" panose="020B0604020202020204" pitchFamily="34" charset="0"/>
              <a:buChar char="•"/>
              <a:tabLst/>
              <a:defRPr/>
            </a:pPr>
            <a:r>
              <a:rPr lang="en-US" sz="1200">
                <a:solidFill>
                  <a:srgbClr val="000000"/>
                </a:solidFill>
              </a:rPr>
              <a:t>Single data center</a:t>
            </a:r>
            <a:endParaRPr kumimoji="0" lang="en-US" sz="1200" b="0" i="0" u="none" strike="noStrike" kern="1200" cap="none" spc="0" normalizeH="0" baseline="0" noProof="0">
              <a:ln>
                <a:noFill/>
              </a:ln>
              <a:solidFill>
                <a:srgbClr val="000000"/>
              </a:solidFill>
              <a:effectLst/>
              <a:uLnTx/>
              <a:uFillTx/>
              <a:ea typeface="+mn-ea"/>
              <a:cs typeface="+mn-cs"/>
            </a:endParaRPr>
          </a:p>
          <a:p>
            <a:pPr marL="648000" marR="0" lvl="1" indent="-216000" algn="l" defTabSz="914400" rtl="0" eaLnBrk="1" fontAlgn="auto" latinLnBrk="0" hangingPunct="1">
              <a:lnSpc>
                <a:spcPct val="110000"/>
              </a:lnSpc>
              <a:spcBef>
                <a:spcPts val="300"/>
              </a:spcBef>
              <a:buClrTx/>
              <a:buSzTx/>
              <a:buFont typeface="Arial" panose="020B0604020202020204" pitchFamily="34" charset="0"/>
              <a:buChar char="•"/>
              <a:tabLst/>
              <a:defRPr/>
            </a:pPr>
            <a:r>
              <a:rPr lang="en-US" sz="1200">
                <a:solidFill>
                  <a:srgbClr val="000000"/>
                </a:solidFill>
              </a:rPr>
              <a:t>Stateful </a:t>
            </a:r>
            <a:r>
              <a:rPr lang="en-US" sz="1200">
                <a:solidFill>
                  <a:srgbClr val="000000"/>
                </a:solidFill>
                <a:effectLst/>
                <a:ea typeface="Calibri" panose="020F0502020204030204" pitchFamily="34" charset="0"/>
              </a:rPr>
              <a:t>–</a:t>
            </a:r>
            <a:r>
              <a:rPr lang="en-US" sz="1200">
                <a:solidFill>
                  <a:srgbClr val="000000"/>
                </a:solidFill>
              </a:rPr>
              <a:t> Meta-data of LoBs (e.g., API, domains)</a:t>
            </a:r>
          </a:p>
          <a:p>
            <a:pPr marL="216000" indent="-216000" defTabSz="914400">
              <a:lnSpc>
                <a:spcPct val="110000"/>
              </a:lnSpc>
              <a:spcBef>
                <a:spcPts val="1200"/>
              </a:spcBef>
              <a:buSzTx/>
              <a:buFont typeface="Arial" panose="020B0604020202020204" pitchFamily="34" charset="0"/>
              <a:buChar char="•"/>
              <a:defRPr/>
            </a:pPr>
            <a:r>
              <a:rPr lang="en-US" sz="1400"/>
              <a:t>Edges</a:t>
            </a:r>
          </a:p>
          <a:p>
            <a:pPr marL="648000" lvl="1" indent="-216000" defTabSz="914400">
              <a:lnSpc>
                <a:spcPct val="110000"/>
              </a:lnSpc>
              <a:spcBef>
                <a:spcPts val="300"/>
              </a:spcBef>
              <a:buClrTx/>
              <a:buSzTx/>
              <a:buFont typeface="Arial" panose="020B0604020202020204" pitchFamily="34" charset="0"/>
              <a:buChar char="•"/>
              <a:defRPr/>
            </a:pPr>
            <a:r>
              <a:rPr lang="en-US" sz="1200">
                <a:solidFill>
                  <a:srgbClr val="000000"/>
                </a:solidFill>
              </a:rPr>
              <a:t>Data plane</a:t>
            </a:r>
          </a:p>
          <a:p>
            <a:pPr marL="648000" lvl="1" indent="-216000" defTabSz="914400">
              <a:lnSpc>
                <a:spcPct val="110000"/>
              </a:lnSpc>
              <a:spcBef>
                <a:spcPts val="300"/>
              </a:spcBef>
              <a:buClrTx/>
              <a:buSzTx/>
              <a:buFont typeface="Arial" panose="020B0604020202020204" pitchFamily="34" charset="0"/>
              <a:buChar char="•"/>
              <a:defRPr/>
            </a:pPr>
            <a:r>
              <a:rPr lang="en-US" sz="1200">
                <a:solidFill>
                  <a:srgbClr val="000000"/>
                </a:solidFill>
              </a:rPr>
              <a:t>Runtime</a:t>
            </a:r>
          </a:p>
          <a:p>
            <a:pPr marL="648000" lvl="1" indent="-216000" defTabSz="914400">
              <a:lnSpc>
                <a:spcPct val="110000"/>
              </a:lnSpc>
              <a:spcBef>
                <a:spcPts val="300"/>
              </a:spcBef>
              <a:buClrTx/>
              <a:buSzTx/>
              <a:buFont typeface="Arial" panose="020B0604020202020204" pitchFamily="34" charset="0"/>
              <a:buChar char="•"/>
              <a:defRPr/>
            </a:pPr>
            <a:r>
              <a:rPr lang="en-US" sz="1200">
                <a:solidFill>
                  <a:srgbClr val="000000"/>
                </a:solidFill>
              </a:rPr>
              <a:t>Multiple data centers</a:t>
            </a:r>
          </a:p>
          <a:p>
            <a:pPr marL="648000" lvl="1" indent="-216000" defTabSz="914400">
              <a:lnSpc>
                <a:spcPct val="110000"/>
              </a:lnSpc>
              <a:spcBef>
                <a:spcPts val="300"/>
              </a:spcBef>
              <a:buClrTx/>
              <a:buSzTx/>
              <a:buFont typeface="Arial" panose="020B0604020202020204" pitchFamily="34" charset="0"/>
              <a:buChar char="•"/>
              <a:defRPr/>
            </a:pPr>
            <a:r>
              <a:rPr lang="en-US" sz="1200">
                <a:solidFill>
                  <a:srgbClr val="000000"/>
                </a:solidFill>
              </a:rPr>
              <a:t>Stateless</a:t>
            </a:r>
          </a:p>
          <a:p>
            <a:pPr marL="648000" lvl="1" indent="-216000" defTabSz="914400">
              <a:lnSpc>
                <a:spcPct val="110000"/>
              </a:lnSpc>
              <a:spcBef>
                <a:spcPts val="300"/>
              </a:spcBef>
              <a:buClrTx/>
              <a:buSzTx/>
              <a:buFont typeface="Arial" panose="020B0604020202020204" pitchFamily="34" charset="0"/>
              <a:buChar char="•"/>
              <a:defRPr/>
            </a:pPr>
            <a:r>
              <a:rPr lang="en-US" sz="1200">
                <a:solidFill>
                  <a:srgbClr val="000000"/>
                </a:solidFill>
              </a:rPr>
              <a:t>Local proxy control plane</a:t>
            </a:r>
          </a:p>
          <a:p>
            <a:pPr marL="216000" indent="-216000" defTabSz="914400">
              <a:lnSpc>
                <a:spcPct val="110000"/>
              </a:lnSpc>
              <a:spcBef>
                <a:spcPts val="1200"/>
              </a:spcBef>
              <a:buSzTx/>
              <a:buFont typeface="Arial" panose="020B0604020202020204" pitchFamily="34" charset="0"/>
              <a:buChar char="•"/>
              <a:defRPr/>
            </a:pPr>
            <a:r>
              <a:rPr lang="en-US" sz="1400"/>
              <a:t>Gardener</a:t>
            </a:r>
          </a:p>
          <a:p>
            <a:pPr marL="648000" lvl="1" indent="-216000" defTabSz="914400">
              <a:lnSpc>
                <a:spcPct val="110000"/>
              </a:lnSpc>
              <a:spcBef>
                <a:spcPts val="300"/>
              </a:spcBef>
              <a:buClrTx/>
              <a:buSzTx/>
              <a:buFont typeface="Arial" panose="020B0604020202020204" pitchFamily="34" charset="0"/>
              <a:buChar char="•"/>
              <a:defRPr/>
            </a:pPr>
            <a:r>
              <a:rPr lang="en-US" sz="1200">
                <a:solidFill>
                  <a:srgbClr val="000000"/>
                </a:solidFill>
              </a:rPr>
              <a:t>Kubernetes control Plane (</a:t>
            </a:r>
            <a:r>
              <a:rPr lang="en-US" sz="1200"/>
              <a:t>Kubernetes</a:t>
            </a:r>
            <a:r>
              <a:rPr lang="en-US" sz="1200">
                <a:solidFill>
                  <a:srgbClr val="000000"/>
                </a:solidFill>
              </a:rPr>
              <a:t> Clusters as a Service)</a:t>
            </a:r>
          </a:p>
          <a:p>
            <a:pPr marL="648000" lvl="1" indent="-216000" defTabSz="914400">
              <a:lnSpc>
                <a:spcPct val="110000"/>
              </a:lnSpc>
              <a:spcBef>
                <a:spcPts val="300"/>
              </a:spcBef>
              <a:buClrTx/>
              <a:buSzTx/>
              <a:buFont typeface="Arial" panose="020B0604020202020204" pitchFamily="34" charset="0"/>
              <a:buChar char="•"/>
              <a:defRPr/>
            </a:pPr>
            <a:r>
              <a:rPr lang="en-US" sz="1200">
                <a:solidFill>
                  <a:srgbClr val="000000"/>
                </a:solidFill>
              </a:rPr>
              <a:t>Installation and configuration</a:t>
            </a:r>
          </a:p>
          <a:p>
            <a:pPr marL="648000" lvl="1" indent="-216000" defTabSz="914400">
              <a:lnSpc>
                <a:spcPct val="110000"/>
              </a:lnSpc>
              <a:spcBef>
                <a:spcPts val="300"/>
              </a:spcBef>
              <a:buClrTx/>
              <a:buSzTx/>
              <a:buFont typeface="Arial" panose="020B0604020202020204" pitchFamily="34" charset="0"/>
              <a:buChar char="•"/>
              <a:defRPr/>
            </a:pPr>
            <a:r>
              <a:rPr lang="en-US" sz="1200">
                <a:solidFill>
                  <a:srgbClr val="000000"/>
                </a:solidFill>
              </a:rPr>
              <a:t>Runtime</a:t>
            </a:r>
          </a:p>
          <a:p>
            <a:pPr defTabSz="914400">
              <a:lnSpc>
                <a:spcPct val="110000"/>
              </a:lnSpc>
              <a:spcBef>
                <a:spcPts val="300"/>
              </a:spcBef>
              <a:buSzTx/>
              <a:defRPr/>
            </a:pPr>
            <a:endParaRPr kumimoji="0" lang="en-US" sz="1200" b="0" i="0" u="none" strike="noStrike" kern="1200" cap="none" spc="0" normalizeH="0" baseline="0" noProof="0">
              <a:ln>
                <a:noFill/>
              </a:ln>
              <a:effectLst/>
              <a:uLnTx/>
              <a:uFillTx/>
              <a:ea typeface="+mn-ea"/>
              <a:cs typeface="+mn-cs"/>
            </a:endParaRPr>
          </a:p>
        </p:txBody>
      </p:sp>
      <p:pic>
        <p:nvPicPr>
          <p:cNvPr id="1026" name="Picture 2">
            <a:extLst>
              <a:ext uri="{FF2B5EF4-FFF2-40B4-BE49-F238E27FC236}">
                <a16:creationId xmlns:a16="http://schemas.microsoft.com/office/drawing/2014/main" id="{78301A2C-D898-0AF4-5F2D-A3E475036C3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3778" y="2056418"/>
            <a:ext cx="6805942" cy="430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82255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599DD7-3E5F-8B4B-97B3-EF9A9D95F36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8D52A30-025E-95DD-BE71-49C1FD0BB82A}"/>
              </a:ext>
            </a:extLst>
          </p:cNvPr>
          <p:cNvSpPr>
            <a:spLocks noGrp="1"/>
          </p:cNvSpPr>
          <p:nvPr>
            <p:ph type="body" sz="quarter" idx="10"/>
          </p:nvPr>
        </p:nvSpPr>
        <p:spPr>
          <a:xfrm>
            <a:off x="8476490" y="1620982"/>
            <a:ext cx="3322989" cy="5172746"/>
          </a:xfrm>
        </p:spPr>
        <p:txBody>
          <a:bodyPr>
            <a:noAutofit/>
          </a:bodyPr>
          <a:lstStyle/>
          <a:p>
            <a:pPr marL="216000" indent="-216000" defTabSz="914400">
              <a:lnSpc>
                <a:spcPct val="110000"/>
              </a:lnSpc>
              <a:spcBef>
                <a:spcPts val="600"/>
              </a:spcBef>
              <a:buSzTx/>
              <a:buFont typeface="Arial" panose="020B0604020202020204" pitchFamily="34" charset="0"/>
              <a:buChar char="•"/>
              <a:defRPr/>
            </a:pPr>
            <a:r>
              <a:rPr kumimoji="0" lang="en-US" sz="1200" b="0" i="0" u="none" strike="noStrike" kern="1200" cap="none" spc="0" normalizeH="0" baseline="0" noProof="0">
                <a:ln>
                  <a:noFill/>
                </a:ln>
                <a:effectLst/>
                <a:uLnTx/>
                <a:uFillTx/>
                <a:ea typeface="+mn-ea"/>
                <a:cs typeface="+mn-cs"/>
              </a:rPr>
              <a:t>Center vs. Edges</a:t>
            </a:r>
          </a:p>
          <a:p>
            <a:pPr marL="216000" indent="-216000" defTabSz="914400">
              <a:lnSpc>
                <a:spcPct val="110000"/>
              </a:lnSpc>
              <a:spcBef>
                <a:spcPts val="600"/>
              </a:spcBef>
              <a:buSzTx/>
              <a:buFont typeface="Arial" panose="020B0604020202020204" pitchFamily="34" charset="0"/>
              <a:buChar char="•"/>
              <a:defRPr/>
            </a:pPr>
            <a:r>
              <a:rPr kumimoji="0" lang="en-US" sz="1200" b="0" i="0" u="none" strike="noStrike" kern="1200" cap="none" spc="0" normalizeH="0" baseline="0" noProof="0">
                <a:ln>
                  <a:noFill/>
                </a:ln>
                <a:effectLst/>
                <a:uLnTx/>
                <a:uFillTx/>
                <a:ea typeface="+mn-ea"/>
                <a:cs typeface="+mn-cs"/>
              </a:rPr>
              <a:t>Worker Group</a:t>
            </a:r>
          </a:p>
          <a:p>
            <a:pPr marL="648000" lvl="1" indent="-216000" defTabSz="914400">
              <a:lnSpc>
                <a:spcPct val="110000"/>
              </a:lnSpc>
              <a:spcBef>
                <a:spcPts val="300"/>
              </a:spcBef>
              <a:buClrTx/>
              <a:buSzTx/>
              <a:buFont typeface="Arial" panose="020B0604020202020204" pitchFamily="34" charset="0"/>
              <a:buChar char="•"/>
              <a:defRPr/>
            </a:pPr>
            <a:r>
              <a:rPr kumimoji="0" lang="en-US" sz="1000" b="0" i="0" u="none" strike="noStrike" kern="1200" cap="none" spc="0" normalizeH="0" baseline="0" noProof="0">
                <a:ln>
                  <a:noFill/>
                </a:ln>
                <a:effectLst/>
                <a:uLnTx/>
                <a:uFillTx/>
                <a:ea typeface="+mn-ea"/>
                <a:cs typeface="+mn-cs"/>
              </a:rPr>
              <a:t>Isolate critical runtime</a:t>
            </a:r>
          </a:p>
          <a:p>
            <a:pPr marL="216000" indent="-216000" defTabSz="914400">
              <a:lnSpc>
                <a:spcPct val="110000"/>
              </a:lnSpc>
              <a:spcBef>
                <a:spcPts val="600"/>
              </a:spcBef>
              <a:buSzTx/>
              <a:buFont typeface="Arial" panose="020B0604020202020204" pitchFamily="34" charset="0"/>
              <a:buChar char="•"/>
              <a:defRPr/>
            </a:pPr>
            <a:r>
              <a:rPr kumimoji="0" lang="en-US" sz="1200" b="0" i="0" u="none" strike="noStrike" kern="1200" cap="none" spc="0" normalizeH="0" baseline="0" noProof="0">
                <a:ln>
                  <a:noFill/>
                </a:ln>
                <a:effectLst/>
                <a:uLnTx/>
                <a:uFillTx/>
                <a:ea typeface="+mn-ea"/>
                <a:cs typeface="+mn-cs"/>
                <a:hlinkClick r:id="rId3"/>
              </a:rPr>
              <a:t>Kubernetes</a:t>
            </a:r>
            <a:endParaRPr lang="en-US" sz="1200"/>
          </a:p>
          <a:p>
            <a:pPr marL="648000" lvl="1" indent="-216000" defTabSz="914400">
              <a:lnSpc>
                <a:spcPct val="110000"/>
              </a:lnSpc>
              <a:spcBef>
                <a:spcPts val="300"/>
              </a:spcBef>
              <a:buClrTx/>
              <a:buSzTx/>
              <a:buFont typeface="Arial" panose="020B0604020202020204" pitchFamily="34" charset="0"/>
              <a:buChar char="•"/>
              <a:defRPr/>
            </a:pPr>
            <a:r>
              <a:rPr lang="en-US" sz="1000"/>
              <a:t>Managing containerized workloads</a:t>
            </a:r>
          </a:p>
          <a:p>
            <a:pPr marL="648000" lvl="1" indent="-216000" defTabSz="914400">
              <a:lnSpc>
                <a:spcPct val="110000"/>
              </a:lnSpc>
              <a:spcBef>
                <a:spcPts val="300"/>
              </a:spcBef>
              <a:buClrTx/>
              <a:buSzTx/>
              <a:buFont typeface="Arial" panose="020B0604020202020204" pitchFamily="34" charset="0"/>
              <a:buChar char="•"/>
              <a:defRPr/>
            </a:pPr>
            <a:r>
              <a:rPr lang="en-US" sz="1000"/>
              <a:t>Declarative (desired state) – asynchronous reconciliation</a:t>
            </a:r>
          </a:p>
          <a:p>
            <a:pPr marL="216000" indent="-216000" defTabSz="914400">
              <a:lnSpc>
                <a:spcPct val="110000"/>
              </a:lnSpc>
              <a:spcBef>
                <a:spcPts val="600"/>
              </a:spcBef>
              <a:buSzTx/>
              <a:buFont typeface="Arial" panose="020B0604020202020204" pitchFamily="34" charset="0"/>
              <a:buChar char="•"/>
              <a:defRPr/>
            </a:pPr>
            <a:r>
              <a:rPr kumimoji="0" lang="en-US" sz="1200" b="0" i="0" u="none" strike="noStrike" kern="1200" cap="none" spc="0" normalizeH="0" baseline="0" noProof="0">
                <a:ln>
                  <a:noFill/>
                </a:ln>
                <a:effectLst/>
                <a:uLnTx/>
                <a:uFillTx/>
                <a:ea typeface="+mn-ea"/>
                <a:cs typeface="+mn-cs"/>
                <a:hlinkClick r:id="rId4"/>
              </a:rPr>
              <a:t>Gardener</a:t>
            </a:r>
            <a:endParaRPr kumimoji="0" lang="en-US" sz="1200" b="0" i="0" u="none" strike="noStrike" kern="1200" cap="none" spc="0" normalizeH="0" baseline="0" noProof="0">
              <a:ln>
                <a:noFill/>
              </a:ln>
              <a:effectLst/>
              <a:uLnTx/>
              <a:uFillTx/>
              <a:ea typeface="+mn-ea"/>
              <a:cs typeface="+mn-cs"/>
            </a:endParaRPr>
          </a:p>
          <a:p>
            <a:pPr marL="648000" lvl="1" indent="-216000" defTabSz="914400">
              <a:lnSpc>
                <a:spcPct val="110000"/>
              </a:lnSpc>
              <a:spcBef>
                <a:spcPts val="300"/>
              </a:spcBef>
              <a:buClrTx/>
              <a:buSzTx/>
              <a:buFont typeface="Arial" panose="020B0604020202020204" pitchFamily="34" charset="0"/>
              <a:buChar char="•"/>
              <a:defRPr/>
            </a:pPr>
            <a:r>
              <a:rPr lang="en-US" sz="1000"/>
              <a:t>Seed – Kubernetes Cluster Control Plane</a:t>
            </a:r>
          </a:p>
          <a:p>
            <a:pPr marL="648000" lvl="1" indent="-216000" defTabSz="914400">
              <a:lnSpc>
                <a:spcPct val="110000"/>
              </a:lnSpc>
              <a:spcBef>
                <a:spcPts val="300"/>
              </a:spcBef>
              <a:buClrTx/>
              <a:buSzTx/>
              <a:buFont typeface="Arial" panose="020B0604020202020204" pitchFamily="34" charset="0"/>
              <a:buChar char="•"/>
              <a:defRPr/>
            </a:pPr>
            <a:r>
              <a:rPr lang="en-US" sz="1000"/>
              <a:t>Kubernetes Shoot Cluster</a:t>
            </a:r>
          </a:p>
          <a:p>
            <a:pPr marL="216000" indent="-216000" defTabSz="914400">
              <a:lnSpc>
                <a:spcPct val="110000"/>
              </a:lnSpc>
              <a:spcBef>
                <a:spcPts val="600"/>
              </a:spcBef>
              <a:buSzTx/>
              <a:buFont typeface="Arial" panose="020B0604020202020204" pitchFamily="34" charset="0"/>
              <a:buChar char="•"/>
              <a:defRPr/>
            </a:pPr>
            <a:r>
              <a:rPr lang="en-US" sz="1200" u="sng">
                <a:solidFill>
                  <a:srgbClr val="0563C1"/>
                </a:solidFill>
                <a:effectLst/>
                <a:ea typeface="Calibri" panose="020F0502020204030204" pitchFamily="34" charset="0"/>
                <a:hlinkClick r:id="rId5"/>
              </a:rPr>
              <a:t>Envoy Gateway</a:t>
            </a:r>
            <a:endParaRPr lang="en-US" sz="1200" u="sng">
              <a:solidFill>
                <a:srgbClr val="0563C1"/>
              </a:solidFill>
              <a:effectLst/>
              <a:ea typeface="Calibri" panose="020F0502020204030204" pitchFamily="34" charset="0"/>
            </a:endParaRPr>
          </a:p>
          <a:p>
            <a:pPr marL="216000" indent="-216000" defTabSz="914400">
              <a:lnSpc>
                <a:spcPct val="110000"/>
              </a:lnSpc>
              <a:spcBef>
                <a:spcPts val="600"/>
              </a:spcBef>
              <a:buSzTx/>
              <a:buFont typeface="Arial" panose="020B0604020202020204" pitchFamily="34" charset="0"/>
              <a:buChar char="•"/>
              <a:defRPr/>
            </a:pPr>
            <a:r>
              <a:rPr lang="en-US" sz="1200">
                <a:solidFill>
                  <a:srgbClr val="000000"/>
                </a:solidFill>
                <a:effectLst/>
                <a:ea typeface="Calibri" panose="020F0502020204030204" pitchFamily="34" charset="0"/>
              </a:rPr>
              <a:t>Own configuration API schema</a:t>
            </a:r>
          </a:p>
          <a:p>
            <a:pPr marL="648000" lvl="1" indent="-216000" defTabSz="914400">
              <a:lnSpc>
                <a:spcPct val="110000"/>
              </a:lnSpc>
              <a:spcBef>
                <a:spcPts val="300"/>
              </a:spcBef>
              <a:buClrTx/>
              <a:buSzTx/>
              <a:buFont typeface="Arial" panose="020B0604020202020204" pitchFamily="34" charset="0"/>
              <a:buChar char="•"/>
              <a:defRPr/>
            </a:pPr>
            <a:r>
              <a:rPr lang="en-US" sz="1000"/>
              <a:t>Decoupled from the underlying chosen technology stack</a:t>
            </a:r>
          </a:p>
          <a:p>
            <a:pPr marL="216000" indent="-216000" defTabSz="914400">
              <a:lnSpc>
                <a:spcPct val="110000"/>
              </a:lnSpc>
              <a:spcBef>
                <a:spcPts val="600"/>
              </a:spcBef>
              <a:buSzTx/>
              <a:buFont typeface="Arial" panose="020B0604020202020204" pitchFamily="34" charset="0"/>
              <a:buChar char="•"/>
              <a:defRPr/>
            </a:pPr>
            <a:r>
              <a:rPr lang="en-US" sz="1200">
                <a:solidFill>
                  <a:srgbClr val="000000"/>
                </a:solidFill>
                <a:effectLst/>
                <a:ea typeface="Calibri" panose="020F0502020204030204" pitchFamily="34" charset="0"/>
              </a:rPr>
              <a:t>Hyperscalers: </a:t>
            </a:r>
            <a:r>
              <a:rPr lang="en-US" sz="1000"/>
              <a:t>AWS, GCP, Azure, Planned: SAP Converged Cloud, as part of BTP everywhere</a:t>
            </a:r>
          </a:p>
          <a:p>
            <a:pPr marL="216000" indent="-216000" defTabSz="914400">
              <a:lnSpc>
                <a:spcPct val="110000"/>
              </a:lnSpc>
              <a:spcBef>
                <a:spcPts val="600"/>
              </a:spcBef>
              <a:buSzTx/>
              <a:buFont typeface="Arial" panose="020B0604020202020204" pitchFamily="34" charset="0"/>
              <a:buChar char="•"/>
              <a:defRPr/>
            </a:pPr>
            <a:r>
              <a:rPr lang="en-US" sz="1200" u="sng">
                <a:solidFill>
                  <a:srgbClr val="0563C1"/>
                </a:solidFill>
                <a:effectLst/>
                <a:ea typeface="Calibri" panose="020F0502020204030204" pitchFamily="34" charset="0"/>
                <a:hlinkClick r:id="rId6"/>
              </a:rPr>
              <a:t>Kernel Service</a:t>
            </a:r>
            <a:endParaRPr lang="en-US" sz="1200" u="sng">
              <a:solidFill>
                <a:srgbClr val="0563C1"/>
              </a:solidFill>
              <a:effectLst/>
              <a:ea typeface="Calibri" panose="020F0502020204030204" pitchFamily="34" charset="0"/>
            </a:endParaRPr>
          </a:p>
          <a:p>
            <a:pPr marL="648000" lvl="1" indent="-216000" defTabSz="914400">
              <a:lnSpc>
                <a:spcPct val="110000"/>
              </a:lnSpc>
              <a:spcBef>
                <a:spcPts val="300"/>
              </a:spcBef>
              <a:buClrTx/>
              <a:buSzTx/>
              <a:buFont typeface="Arial" panose="020B0604020202020204" pitchFamily="34" charset="0"/>
              <a:buChar char="•"/>
              <a:defRPr/>
            </a:pPr>
            <a:r>
              <a:rPr lang="en-US" sz="1000"/>
              <a:t>Mandatory technical services for all SAP cloud solutions – consistent Experience across the entire portfolio</a:t>
            </a:r>
          </a:p>
          <a:p>
            <a:pPr marL="648000" lvl="1" indent="-216000" defTabSz="914400">
              <a:lnSpc>
                <a:spcPct val="110000"/>
              </a:lnSpc>
              <a:spcBef>
                <a:spcPts val="300"/>
              </a:spcBef>
              <a:buClrTx/>
              <a:buSzTx/>
              <a:buFont typeface="Arial" panose="020B0604020202020204" pitchFamily="34" charset="0"/>
              <a:buChar char="•"/>
              <a:defRPr/>
            </a:pPr>
            <a:r>
              <a:rPr lang="en-US" sz="1000">
                <a:hlinkClick r:id="rId7"/>
              </a:rPr>
              <a:t>CAT-1</a:t>
            </a:r>
            <a:r>
              <a:rPr lang="en-US" sz="1000"/>
              <a:t> – Hyperscaler Region Consumption – Deployed in each Hyperscaler region (all Tiers)</a:t>
            </a:r>
          </a:p>
        </p:txBody>
      </p:sp>
      <p:sp>
        <p:nvSpPr>
          <p:cNvPr id="3" name="Title 2">
            <a:extLst>
              <a:ext uri="{FF2B5EF4-FFF2-40B4-BE49-F238E27FC236}">
                <a16:creationId xmlns:a16="http://schemas.microsoft.com/office/drawing/2014/main" id="{539528DE-83BF-7030-CE91-5264D2A5CC2F}"/>
              </a:ext>
            </a:extLst>
          </p:cNvPr>
          <p:cNvSpPr>
            <a:spLocks noGrp="1"/>
          </p:cNvSpPr>
          <p:nvPr>
            <p:ph type="title"/>
          </p:nvPr>
        </p:nvSpPr>
        <p:spPr>
          <a:xfrm>
            <a:off x="504001" y="504000"/>
            <a:ext cx="11186476" cy="369332"/>
          </a:xfrm>
        </p:spPr>
        <p:txBody>
          <a:bodyPr/>
          <a:lstStyle/>
          <a:p>
            <a:r>
              <a:rPr lang="en-US"/>
              <a:t>System Architecture</a:t>
            </a:r>
            <a:endParaRPr lang="en-IL"/>
          </a:p>
        </p:txBody>
      </p:sp>
      <p:sp>
        <p:nvSpPr>
          <p:cNvPr id="9" name="Rectangle 8">
            <a:extLst>
              <a:ext uri="{FF2B5EF4-FFF2-40B4-BE49-F238E27FC236}">
                <a16:creationId xmlns:a16="http://schemas.microsoft.com/office/drawing/2014/main" id="{B8361F18-A84F-6977-2BC9-B02ED9DA854A}"/>
              </a:ext>
            </a:extLst>
          </p:cNvPr>
          <p:cNvSpPr/>
          <p:nvPr/>
        </p:nvSpPr>
        <p:spPr bwMode="gray">
          <a:xfrm>
            <a:off x="422418" y="6287334"/>
            <a:ext cx="5302639" cy="479445"/>
          </a:xfrm>
          <a:prstGeom prst="rect">
            <a:avLst/>
          </a:prstGeom>
          <a:solidFill>
            <a:schemeClr val="bg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IL"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2050" name="Picture 2">
            <a:extLst>
              <a:ext uri="{FF2B5EF4-FFF2-40B4-BE49-F238E27FC236}">
                <a16:creationId xmlns:a16="http://schemas.microsoft.com/office/drawing/2014/main" id="{D9A426E7-65CC-5391-B1B7-BD0B8CAEB4C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2885" y="1387121"/>
            <a:ext cx="7873200" cy="54717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29053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9F0229-FA9F-616A-E10B-3284E07B6C73}"/>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C87B772-C962-8CF2-BE68-DB16087BB51A}"/>
              </a:ext>
            </a:extLst>
          </p:cNvPr>
          <p:cNvSpPr>
            <a:spLocks noGrp="1"/>
          </p:cNvSpPr>
          <p:nvPr>
            <p:ph type="body" sz="quarter" idx="10"/>
          </p:nvPr>
        </p:nvSpPr>
        <p:spPr>
          <a:xfrm>
            <a:off x="8628743" y="3936118"/>
            <a:ext cx="3061733" cy="2591682"/>
          </a:xfrm>
        </p:spPr>
        <p:txBody>
          <a:bodyPr>
            <a:normAutofit/>
          </a:bodyPr>
          <a:lstStyle/>
          <a:p>
            <a:pPr>
              <a:lnSpc>
                <a:spcPct val="110000"/>
              </a:lnSpc>
              <a:spcBef>
                <a:spcPts val="1200"/>
              </a:spcBef>
              <a:buSzPct val="100000"/>
            </a:pPr>
            <a:r>
              <a:rPr lang="en-US" sz="1400"/>
              <a:t>Miscellaneous</a:t>
            </a:r>
          </a:p>
          <a:p>
            <a:pPr marL="288000" lvl="1" indent="-180000">
              <a:lnSpc>
                <a:spcPct val="120000"/>
              </a:lnSpc>
              <a:spcBef>
                <a:spcPts val="300"/>
              </a:spcBef>
              <a:buFont typeface="Arial" panose="020B0604020202020204" pitchFamily="34" charset="0"/>
              <a:buChar char="•"/>
            </a:pPr>
            <a:r>
              <a:rPr lang="en-US" sz="1000"/>
              <a:t>Envoy Proxy</a:t>
            </a:r>
          </a:p>
          <a:p>
            <a:pPr marL="603450" lvl="1" indent="-171450">
              <a:lnSpc>
                <a:spcPct val="110000"/>
              </a:lnSpc>
              <a:buClrTx/>
              <a:buFontTx/>
              <a:buChar char="-"/>
            </a:pPr>
            <a:r>
              <a:rPr lang="en-US" sz="1000"/>
              <a:t>Multi-Instances</a:t>
            </a:r>
          </a:p>
          <a:p>
            <a:pPr marL="603450" lvl="1" indent="-171450">
              <a:lnSpc>
                <a:spcPct val="110000"/>
              </a:lnSpc>
              <a:buClrTx/>
              <a:buFontTx/>
              <a:buChar char="-"/>
            </a:pPr>
            <a:r>
              <a:rPr lang="en-US" sz="1000"/>
              <a:t>Multi-AZ (Availability Zone)</a:t>
            </a:r>
          </a:p>
          <a:p>
            <a:pPr marL="603450" lvl="1" indent="-171450">
              <a:lnSpc>
                <a:spcPct val="110000"/>
              </a:lnSpc>
              <a:buClrTx/>
              <a:buFontTx/>
              <a:buChar char="-"/>
            </a:pPr>
            <a:r>
              <a:rPr lang="en-US" sz="1000"/>
              <a:t>Separated VMs (Worker Group)</a:t>
            </a:r>
          </a:p>
          <a:p>
            <a:pPr marL="603450" lvl="1" indent="-171450">
              <a:lnSpc>
                <a:spcPct val="110000"/>
              </a:lnSpc>
              <a:buClrTx/>
              <a:buFontTx/>
              <a:buChar char="-"/>
            </a:pPr>
            <a:r>
              <a:rPr lang="en-US" sz="1000"/>
              <a:t>Horizontal Scaling (Kubernetes Autoscaler)</a:t>
            </a:r>
          </a:p>
          <a:p>
            <a:pPr marL="288000" lvl="1" indent="-180000">
              <a:lnSpc>
                <a:spcPct val="120000"/>
              </a:lnSpc>
              <a:spcBef>
                <a:spcPts val="300"/>
              </a:spcBef>
              <a:buFont typeface="Arial" panose="020B0604020202020204" pitchFamily="34" charset="0"/>
              <a:buChar char="•"/>
            </a:pPr>
            <a:r>
              <a:rPr lang="en-US" sz="1000"/>
              <a:t>CDN and other proxies may be in-front of UGW</a:t>
            </a:r>
          </a:p>
          <a:p>
            <a:pPr marL="288000" lvl="1" indent="-180000">
              <a:lnSpc>
                <a:spcPct val="120000"/>
              </a:lnSpc>
              <a:spcBef>
                <a:spcPts val="300"/>
              </a:spcBef>
              <a:buFont typeface="Arial" panose="020B0604020202020204" pitchFamily="34" charset="0"/>
              <a:buChar char="•"/>
            </a:pPr>
            <a:r>
              <a:rPr lang="en-US" sz="1000"/>
              <a:t>DDoS, FW – L4</a:t>
            </a:r>
            <a:endParaRPr lang="en-IL" sz="1000"/>
          </a:p>
        </p:txBody>
      </p:sp>
      <p:sp>
        <p:nvSpPr>
          <p:cNvPr id="3" name="Title 2">
            <a:extLst>
              <a:ext uri="{FF2B5EF4-FFF2-40B4-BE49-F238E27FC236}">
                <a16:creationId xmlns:a16="http://schemas.microsoft.com/office/drawing/2014/main" id="{0BC1BEAC-1CE6-B1DC-86C0-D7C565D4644B}"/>
              </a:ext>
            </a:extLst>
          </p:cNvPr>
          <p:cNvSpPr>
            <a:spLocks noGrp="1"/>
          </p:cNvSpPr>
          <p:nvPr>
            <p:ph type="title"/>
          </p:nvPr>
        </p:nvSpPr>
        <p:spPr/>
        <p:txBody>
          <a:bodyPr/>
          <a:lstStyle/>
          <a:p>
            <a:r>
              <a:rPr lang="en-US"/>
              <a:t>Runtime (Critical Path)</a:t>
            </a:r>
            <a:endParaRPr lang="en-IL"/>
          </a:p>
        </p:txBody>
      </p:sp>
      <p:sp>
        <p:nvSpPr>
          <p:cNvPr id="7" name="Text Placeholder 1">
            <a:extLst>
              <a:ext uri="{FF2B5EF4-FFF2-40B4-BE49-F238E27FC236}">
                <a16:creationId xmlns:a16="http://schemas.microsoft.com/office/drawing/2014/main" id="{7924A85C-9243-DFD0-ABFF-CE70B53A0B65}"/>
              </a:ext>
            </a:extLst>
          </p:cNvPr>
          <p:cNvSpPr txBox="1">
            <a:spLocks/>
          </p:cNvSpPr>
          <p:nvPr/>
        </p:nvSpPr>
        <p:spPr bwMode="black">
          <a:xfrm>
            <a:off x="504000" y="3936119"/>
            <a:ext cx="2628000" cy="1892105"/>
          </a:xfrm>
          <a:prstGeom prst="rect">
            <a:avLst/>
          </a:prstGeom>
        </p:spPr>
        <p:txBody>
          <a:bodyPr vert="horz" lIns="0" tIns="0" rIns="0" bIns="0" rtlCol="0">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nSpc>
                <a:spcPct val="110000"/>
              </a:lnSpc>
              <a:spcBef>
                <a:spcPts val="300"/>
              </a:spcBef>
              <a:buSzPct val="100000"/>
            </a:pPr>
            <a:r>
              <a:rPr lang="en-US" sz="1200"/>
              <a:t>Network Load Balancer (NLB)</a:t>
            </a:r>
          </a:p>
          <a:p>
            <a:pPr marL="288000" indent="-180000">
              <a:lnSpc>
                <a:spcPct val="110000"/>
              </a:lnSpc>
              <a:spcBef>
                <a:spcPts val="300"/>
              </a:spcBef>
              <a:buSzPct val="100000"/>
              <a:buFont typeface="Arial" panose="020B0604020202020204" pitchFamily="34" charset="0"/>
              <a:buChar char="•"/>
            </a:pPr>
            <a:r>
              <a:rPr lang="en-US" sz="1000"/>
              <a:t>Network / Classic (Transparent) L4 LB</a:t>
            </a:r>
          </a:p>
          <a:p>
            <a:pPr marL="288000" indent="-180000">
              <a:lnSpc>
                <a:spcPct val="110000"/>
              </a:lnSpc>
              <a:spcBef>
                <a:spcPts val="300"/>
              </a:spcBef>
              <a:buSzPct val="100000"/>
              <a:buFont typeface="Arial" panose="020B0604020202020204" pitchFamily="34" charset="0"/>
              <a:buChar char="•"/>
            </a:pPr>
            <a:r>
              <a:rPr lang="en-US" sz="1000"/>
              <a:t>Passthrough</a:t>
            </a:r>
          </a:p>
          <a:p>
            <a:pPr marL="288000" indent="-180000">
              <a:lnSpc>
                <a:spcPct val="110000"/>
              </a:lnSpc>
              <a:spcBef>
                <a:spcPts val="300"/>
              </a:spcBef>
              <a:buSzPct val="100000"/>
              <a:buFont typeface="Arial" panose="020B0604020202020204" pitchFamily="34" charset="0"/>
              <a:buChar char="•"/>
            </a:pPr>
            <a:r>
              <a:rPr lang="en-US" sz="1000"/>
              <a:t>Adds proxy protocol header (client-IP)</a:t>
            </a:r>
          </a:p>
          <a:p>
            <a:pPr marL="288000" indent="-180000">
              <a:lnSpc>
                <a:spcPct val="110000"/>
              </a:lnSpc>
              <a:spcBef>
                <a:spcPts val="300"/>
              </a:spcBef>
              <a:buSzPct val="100000"/>
              <a:buFont typeface="Arial" panose="020B0604020202020204" pitchFamily="34" charset="0"/>
              <a:buChar char="•"/>
            </a:pPr>
            <a:r>
              <a:rPr lang="en-US" sz="1000"/>
              <a:t>Provides ingress static (stable) IP</a:t>
            </a:r>
            <a:endParaRPr lang="en-IL" sz="1000"/>
          </a:p>
        </p:txBody>
      </p:sp>
      <p:sp>
        <p:nvSpPr>
          <p:cNvPr id="8" name="Text Placeholder 1">
            <a:extLst>
              <a:ext uri="{FF2B5EF4-FFF2-40B4-BE49-F238E27FC236}">
                <a16:creationId xmlns:a16="http://schemas.microsoft.com/office/drawing/2014/main" id="{A006E828-1FC5-CC9F-6BBE-E35B196AB707}"/>
              </a:ext>
            </a:extLst>
          </p:cNvPr>
          <p:cNvSpPr txBox="1">
            <a:spLocks/>
          </p:cNvSpPr>
          <p:nvPr/>
        </p:nvSpPr>
        <p:spPr bwMode="black">
          <a:xfrm>
            <a:off x="3304564" y="3936119"/>
            <a:ext cx="2628000" cy="1331777"/>
          </a:xfrm>
          <a:prstGeom prst="rect">
            <a:avLst/>
          </a:prstGeom>
        </p:spPr>
        <p:txBody>
          <a:bodyPr vert="horz" lIns="0" tIns="0" rIns="0" bIns="0" rtlCol="0">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nSpc>
                <a:spcPct val="110000"/>
              </a:lnSpc>
              <a:spcBef>
                <a:spcPts val="300"/>
              </a:spcBef>
              <a:buSzPct val="100000"/>
            </a:pPr>
            <a:r>
              <a:rPr lang="en-US" sz="1200"/>
              <a:t>Envoy Proxy</a:t>
            </a:r>
          </a:p>
          <a:p>
            <a:pPr marL="288000" indent="-180000">
              <a:lnSpc>
                <a:spcPct val="110000"/>
              </a:lnSpc>
              <a:spcBef>
                <a:spcPts val="300"/>
              </a:spcBef>
              <a:buSzPct val="100000"/>
              <a:buFont typeface="Arial" panose="020B0604020202020204" pitchFamily="34" charset="0"/>
              <a:buChar char="•"/>
            </a:pPr>
            <a:r>
              <a:rPr lang="en-US" sz="1000"/>
              <a:t>Application L7 LB</a:t>
            </a:r>
          </a:p>
          <a:p>
            <a:pPr marL="288000" indent="-180000">
              <a:lnSpc>
                <a:spcPct val="110000"/>
              </a:lnSpc>
              <a:spcBef>
                <a:spcPts val="300"/>
              </a:spcBef>
              <a:buSzPct val="100000"/>
              <a:buFont typeface="Arial" panose="020B0604020202020204" pitchFamily="34" charset="0"/>
              <a:buChar char="•"/>
            </a:pPr>
            <a:r>
              <a:rPr lang="en-US" sz="1000"/>
              <a:t>TLS Termination</a:t>
            </a:r>
          </a:p>
          <a:p>
            <a:pPr marL="288000" indent="-180000">
              <a:lnSpc>
                <a:spcPct val="110000"/>
              </a:lnSpc>
              <a:spcBef>
                <a:spcPts val="300"/>
              </a:spcBef>
              <a:buSzPct val="100000"/>
              <a:buFont typeface="Arial" panose="020B0604020202020204" pitchFamily="34" charset="0"/>
              <a:buChar char="•"/>
            </a:pPr>
            <a:r>
              <a:rPr lang="en-US" sz="1000"/>
              <a:t>Examines HTTP request header</a:t>
            </a:r>
          </a:p>
          <a:p>
            <a:pPr marL="288000" indent="-180000">
              <a:lnSpc>
                <a:spcPct val="110000"/>
              </a:lnSpc>
              <a:spcBef>
                <a:spcPts val="300"/>
              </a:spcBef>
              <a:buSzPct val="100000"/>
              <a:buFont typeface="Arial" panose="020B0604020202020204" pitchFamily="34" charset="0"/>
              <a:buChar char="•"/>
            </a:pPr>
            <a:r>
              <a:rPr lang="en-US" sz="1000"/>
              <a:t>Transparent as possible - maintains common reverse proxy HTTP headers:</a:t>
            </a:r>
          </a:p>
        </p:txBody>
      </p:sp>
      <p:sp>
        <p:nvSpPr>
          <p:cNvPr id="9" name="Text Placeholder 1">
            <a:extLst>
              <a:ext uri="{FF2B5EF4-FFF2-40B4-BE49-F238E27FC236}">
                <a16:creationId xmlns:a16="http://schemas.microsoft.com/office/drawing/2014/main" id="{DA8F02B5-8225-726C-3987-48D55857ACA2}"/>
              </a:ext>
            </a:extLst>
          </p:cNvPr>
          <p:cNvSpPr txBox="1">
            <a:spLocks/>
          </p:cNvSpPr>
          <p:nvPr/>
        </p:nvSpPr>
        <p:spPr bwMode="black">
          <a:xfrm>
            <a:off x="6105128" y="3936119"/>
            <a:ext cx="2628000" cy="1892105"/>
          </a:xfrm>
          <a:prstGeom prst="rect">
            <a:avLst/>
          </a:prstGeom>
        </p:spPr>
        <p:txBody>
          <a:bodyPr vert="horz" lIns="0" tIns="0" rIns="0" bIns="0" rtlCol="0">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nSpc>
                <a:spcPct val="110000"/>
              </a:lnSpc>
              <a:spcBef>
                <a:spcPts val="600"/>
              </a:spcBef>
              <a:buSzPct val="100000"/>
            </a:pPr>
            <a:r>
              <a:rPr lang="en-US" sz="1200"/>
              <a:t>NAT Gateway</a:t>
            </a:r>
          </a:p>
          <a:p>
            <a:pPr marL="288000" indent="-180000">
              <a:lnSpc>
                <a:spcPct val="110000"/>
              </a:lnSpc>
              <a:spcBef>
                <a:spcPts val="300"/>
              </a:spcBef>
              <a:buSzPct val="100000"/>
              <a:buFont typeface="Arial" panose="020B0604020202020204" pitchFamily="34" charset="0"/>
              <a:buChar char="•"/>
            </a:pPr>
            <a:r>
              <a:rPr lang="en-US" sz="1000"/>
              <a:t>Network Address Translation L4</a:t>
            </a:r>
          </a:p>
          <a:p>
            <a:pPr marL="288000" indent="-180000">
              <a:lnSpc>
                <a:spcPct val="110000"/>
              </a:lnSpc>
              <a:spcBef>
                <a:spcPts val="300"/>
              </a:spcBef>
              <a:buSzPct val="100000"/>
              <a:buFont typeface="Arial" panose="020B0604020202020204" pitchFamily="34" charset="0"/>
              <a:buChar char="•"/>
            </a:pPr>
            <a:r>
              <a:rPr lang="en-US" sz="1000"/>
              <a:t>Maps IP address by modifying the IP header of packets</a:t>
            </a:r>
          </a:p>
          <a:p>
            <a:pPr marL="288000" indent="-180000">
              <a:lnSpc>
                <a:spcPct val="110000"/>
              </a:lnSpc>
              <a:spcBef>
                <a:spcPts val="300"/>
              </a:spcBef>
              <a:buSzPct val="100000"/>
              <a:buFont typeface="Arial" panose="020B0604020202020204" pitchFamily="34" charset="0"/>
              <a:buChar char="•"/>
            </a:pPr>
            <a:r>
              <a:rPr lang="en-US" sz="1000"/>
              <a:t>Provide egress static (stable) IP</a:t>
            </a:r>
          </a:p>
        </p:txBody>
      </p:sp>
      <p:sp>
        <p:nvSpPr>
          <p:cNvPr id="4" name="Text Placeholder 1">
            <a:extLst>
              <a:ext uri="{FF2B5EF4-FFF2-40B4-BE49-F238E27FC236}">
                <a16:creationId xmlns:a16="http://schemas.microsoft.com/office/drawing/2014/main" id="{6BEFEAF3-90F7-55F1-4D34-E8947AC8AD2B}"/>
              </a:ext>
            </a:extLst>
          </p:cNvPr>
          <p:cNvSpPr txBox="1">
            <a:spLocks/>
          </p:cNvSpPr>
          <p:nvPr/>
        </p:nvSpPr>
        <p:spPr bwMode="black">
          <a:xfrm>
            <a:off x="3569740" y="5138936"/>
            <a:ext cx="3526004" cy="929707"/>
          </a:xfrm>
          <a:prstGeom prst="rect">
            <a:avLst/>
          </a:prstGeom>
        </p:spPr>
        <p:txBody>
          <a:bodyPr vert="horz" lIns="0" tIns="0" rIns="0" bIns="0" rtlCol="0">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nSpc>
                <a:spcPct val="110000"/>
              </a:lnSpc>
              <a:spcBef>
                <a:spcPts val="0"/>
              </a:spcBef>
              <a:buSzPct val="100000"/>
            </a:pPr>
            <a:r>
              <a:rPr lang="en-US" sz="1000">
                <a:latin typeface="Consolas" panose="020B0609020204030204" pitchFamily="49" charset="0"/>
              </a:rPr>
              <a:t>X-Forwarded-For</a:t>
            </a:r>
            <a:r>
              <a:rPr lang="en-US" sz="1000"/>
              <a:t> </a:t>
            </a:r>
            <a:r>
              <a:rPr lang="en-US" sz="1000">
                <a:latin typeface="Consolas" panose="020B0609020204030204" pitchFamily="49" charset="0"/>
              </a:rPr>
              <a:t>(XFF)</a:t>
            </a:r>
            <a:r>
              <a:rPr lang="en-US" sz="1000"/>
              <a:t> and </a:t>
            </a:r>
            <a:r>
              <a:rPr lang="en-US" sz="1000">
                <a:latin typeface="Consolas" panose="020B0609020204030204" pitchFamily="49" charset="0"/>
              </a:rPr>
              <a:t>True-Client-IP</a:t>
            </a:r>
          </a:p>
          <a:p>
            <a:pPr>
              <a:lnSpc>
                <a:spcPct val="110000"/>
              </a:lnSpc>
              <a:spcBef>
                <a:spcPts val="0"/>
              </a:spcBef>
              <a:buSzPct val="100000"/>
            </a:pPr>
            <a:r>
              <a:rPr lang="en-US" sz="1000">
                <a:latin typeface="Consolas" panose="020B0609020204030204" pitchFamily="49" charset="0"/>
              </a:rPr>
              <a:t>X-Forwarded-Host</a:t>
            </a:r>
            <a:r>
              <a:rPr lang="en-US" sz="1000"/>
              <a:t> </a:t>
            </a:r>
            <a:r>
              <a:rPr lang="en-US" sz="1000">
                <a:latin typeface="Consolas" panose="020B0609020204030204" pitchFamily="49" charset="0"/>
              </a:rPr>
              <a:t>(XFH)</a:t>
            </a:r>
            <a:r>
              <a:rPr lang="en-US" sz="1000"/>
              <a:t> and </a:t>
            </a:r>
            <a:r>
              <a:rPr lang="en-US" sz="1000">
                <a:latin typeface="Consolas" panose="020B0609020204030204" pitchFamily="49" charset="0"/>
              </a:rPr>
              <a:t>X-Forwarded-Path</a:t>
            </a:r>
          </a:p>
          <a:p>
            <a:pPr>
              <a:lnSpc>
                <a:spcPct val="110000"/>
              </a:lnSpc>
              <a:spcBef>
                <a:spcPts val="0"/>
              </a:spcBef>
              <a:buSzPct val="100000"/>
            </a:pPr>
            <a:r>
              <a:rPr lang="en-US" sz="1000">
                <a:latin typeface="Consolas" panose="020B0609020204030204" pitchFamily="49" charset="0"/>
              </a:rPr>
              <a:t>X-Forwarded-Proto</a:t>
            </a:r>
            <a:r>
              <a:rPr lang="en-US" sz="1000"/>
              <a:t> </a:t>
            </a:r>
            <a:r>
              <a:rPr lang="en-US" sz="1000">
                <a:latin typeface="Consolas" panose="020B0609020204030204" pitchFamily="49" charset="0"/>
              </a:rPr>
              <a:t>(XFP)</a:t>
            </a:r>
          </a:p>
          <a:p>
            <a:pPr>
              <a:lnSpc>
                <a:spcPct val="110000"/>
              </a:lnSpc>
              <a:spcBef>
                <a:spcPts val="0"/>
              </a:spcBef>
              <a:buSzPct val="100000"/>
            </a:pPr>
            <a:r>
              <a:rPr lang="en-US" sz="1000">
                <a:latin typeface="Consolas" panose="020B0609020204030204" pitchFamily="49" charset="0"/>
              </a:rPr>
              <a:t>X-Forwarded-Client-Cert</a:t>
            </a:r>
            <a:r>
              <a:rPr lang="en-US" sz="1000"/>
              <a:t> </a:t>
            </a:r>
            <a:r>
              <a:rPr lang="en-US" sz="1000">
                <a:latin typeface="Consolas" panose="020B0609020204030204" pitchFamily="49" charset="0"/>
              </a:rPr>
              <a:t>(XFCC)</a:t>
            </a:r>
          </a:p>
          <a:p>
            <a:pPr>
              <a:lnSpc>
                <a:spcPct val="110000"/>
              </a:lnSpc>
              <a:spcBef>
                <a:spcPts val="0"/>
              </a:spcBef>
              <a:buSzPct val="100000"/>
            </a:pPr>
            <a:r>
              <a:rPr lang="en-US" sz="1000">
                <a:latin typeface="Consolas" panose="020B0609020204030204" pitchFamily="49" charset="0"/>
              </a:rPr>
              <a:t>X-Request-ID</a:t>
            </a:r>
            <a:r>
              <a:rPr lang="en-US" sz="1000"/>
              <a:t> </a:t>
            </a:r>
            <a:endParaRPr lang="en-IL" sz="1000">
              <a:latin typeface="Consolas" panose="020B0609020204030204" pitchFamily="49" charset="0"/>
            </a:endParaRPr>
          </a:p>
        </p:txBody>
      </p:sp>
      <p:pic>
        <p:nvPicPr>
          <p:cNvPr id="1028" name="Picture 4">
            <a:extLst>
              <a:ext uri="{FF2B5EF4-FFF2-40B4-BE49-F238E27FC236}">
                <a16:creationId xmlns:a16="http://schemas.microsoft.com/office/drawing/2014/main" id="{C56B7E4F-A117-51D6-7A16-CE4D342F3A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208" y="1634637"/>
            <a:ext cx="9369425" cy="11733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41806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B4A8102-7C69-4CAE-A121-6B4C5BA80A00}"/>
              </a:ext>
            </a:extLst>
          </p:cNvPr>
          <p:cNvSpPr>
            <a:spLocks noGrp="1"/>
          </p:cNvSpPr>
          <p:nvPr>
            <p:ph type="body" sz="quarter" idx="10"/>
          </p:nvPr>
        </p:nvSpPr>
        <p:spPr>
          <a:xfrm>
            <a:off x="7281081" y="1816020"/>
            <a:ext cx="4409395" cy="4471314"/>
          </a:xfrm>
        </p:spPr>
        <p:txBody>
          <a:bodyPr vert="horz" lIns="0" tIns="0" rIns="0" bIns="0" rtlCol="0" anchor="t">
            <a:normAutofit/>
          </a:bodyPr>
          <a:lstStyle/>
          <a:p>
            <a:pPr marL="215900" indent="-215900">
              <a:lnSpc>
                <a:spcPct val="110000"/>
              </a:lnSpc>
              <a:spcBef>
                <a:spcPts val="1200"/>
              </a:spcBef>
              <a:buSzPct val="100000"/>
              <a:buFont typeface="Arial" panose="020B0604020202020204" pitchFamily="34" charset="0"/>
              <a:buChar char="•"/>
            </a:pPr>
            <a:r>
              <a:rPr lang="en-US" sz="1400"/>
              <a:t>Edge Cluster</a:t>
            </a:r>
          </a:p>
          <a:p>
            <a:pPr marL="648000" lvl="1" indent="-215900">
              <a:lnSpc>
                <a:spcPct val="110000"/>
              </a:lnSpc>
              <a:spcBef>
                <a:spcPts val="300"/>
              </a:spcBef>
              <a:buClr>
                <a:schemeClr val="tx1"/>
              </a:buClr>
              <a:buFont typeface="Arial" panose="020B0604020202020204" pitchFamily="34" charset="0"/>
              <a:buChar char="•"/>
            </a:pPr>
            <a:r>
              <a:rPr lang="en-US" sz="1200"/>
              <a:t>Active-active</a:t>
            </a:r>
            <a:endParaRPr lang="en-US" sz="1200">
              <a:cs typeface="Arial"/>
            </a:endParaRPr>
          </a:p>
          <a:p>
            <a:pPr marL="648000" lvl="1" indent="-215900">
              <a:lnSpc>
                <a:spcPct val="110000"/>
              </a:lnSpc>
              <a:spcBef>
                <a:spcPts val="300"/>
              </a:spcBef>
              <a:buClr>
                <a:schemeClr val="tx1"/>
              </a:buClr>
              <a:buFont typeface="Arial" panose="020B0604020202020204" pitchFamily="34" charset="0"/>
              <a:buChar char="•"/>
            </a:pPr>
            <a:r>
              <a:rPr lang="en-US" sz="1200"/>
              <a:t>Stateless</a:t>
            </a:r>
            <a:endParaRPr lang="en-US" sz="1200">
              <a:cs typeface="Arial"/>
            </a:endParaRPr>
          </a:p>
          <a:p>
            <a:pPr marL="648000" lvl="1" indent="-215900">
              <a:lnSpc>
                <a:spcPct val="110000"/>
              </a:lnSpc>
              <a:spcBef>
                <a:spcPts val="300"/>
              </a:spcBef>
              <a:buClr>
                <a:schemeClr val="tx1"/>
              </a:buClr>
              <a:buFont typeface="Arial" panose="020B0604020202020204" pitchFamily="34" charset="0"/>
              <a:buChar char="•"/>
            </a:pPr>
            <a:r>
              <a:rPr lang="en-US" sz="1200"/>
              <a:t>Multi-AZ – Machines are located in 3 zones</a:t>
            </a:r>
          </a:p>
          <a:p>
            <a:pPr marL="648000" lvl="1" indent="-215900">
              <a:lnSpc>
                <a:spcPct val="110000"/>
              </a:lnSpc>
              <a:spcBef>
                <a:spcPts val="300"/>
              </a:spcBef>
              <a:buClr>
                <a:schemeClr val="tx1"/>
              </a:buClr>
              <a:buFont typeface="Arial" panose="020B0604020202020204" pitchFamily="34" charset="0"/>
              <a:buChar char="•"/>
            </a:pPr>
            <a:r>
              <a:rPr lang="en-US" sz="1200">
                <a:cs typeface="Arial"/>
              </a:rPr>
              <a:t>[in-addition] Clusters with previous version (failover)</a:t>
            </a:r>
          </a:p>
          <a:p>
            <a:pPr marL="215900" indent="-215900">
              <a:lnSpc>
                <a:spcPct val="110000"/>
              </a:lnSpc>
              <a:spcBef>
                <a:spcPts val="1200"/>
              </a:spcBef>
              <a:buSzPct val="100000"/>
              <a:buFont typeface="Arial" panose="020B0604020202020204" pitchFamily="34" charset="0"/>
              <a:buChar char="•"/>
            </a:pPr>
            <a:r>
              <a:rPr lang="en-US" sz="1400"/>
              <a:t>AVS</a:t>
            </a:r>
            <a:endParaRPr lang="en-US" sz="1400">
              <a:cs typeface="Arial"/>
            </a:endParaRPr>
          </a:p>
          <a:p>
            <a:pPr marL="648000" lvl="1" indent="-215900">
              <a:lnSpc>
                <a:spcPct val="110000"/>
              </a:lnSpc>
              <a:spcBef>
                <a:spcPts val="300"/>
              </a:spcBef>
              <a:buClr>
                <a:schemeClr val="tx1"/>
              </a:buClr>
              <a:buFont typeface="Arial" panose="020B0604020202020204" pitchFamily="34" charset="0"/>
              <a:buChar char="•"/>
            </a:pPr>
            <a:r>
              <a:rPr lang="en-US" sz="1200"/>
              <a:t>SAP BTP Availability service – monitor cloud-based applications</a:t>
            </a:r>
            <a:endParaRPr lang="en-US" sz="1200">
              <a:cs typeface="Arial"/>
            </a:endParaRPr>
          </a:p>
          <a:p>
            <a:pPr marL="648000" lvl="1" indent="-215900">
              <a:lnSpc>
                <a:spcPct val="110000"/>
              </a:lnSpc>
              <a:spcBef>
                <a:spcPts val="300"/>
              </a:spcBef>
              <a:buClr>
                <a:schemeClr val="tx1"/>
              </a:buClr>
              <a:buFont typeface="Arial" panose="020B0604020202020204" pitchFamily="34" charset="0"/>
              <a:buChar char="•"/>
            </a:pPr>
            <a:r>
              <a:rPr lang="en-US" sz="1200"/>
              <a:t>Used by Cloud Engineering 24x7 support team</a:t>
            </a:r>
            <a:endParaRPr lang="en-US" sz="1200">
              <a:cs typeface="Arial"/>
            </a:endParaRPr>
          </a:p>
          <a:p>
            <a:pPr marL="215900" indent="-215900">
              <a:lnSpc>
                <a:spcPct val="110000"/>
              </a:lnSpc>
              <a:spcBef>
                <a:spcPts val="1200"/>
              </a:spcBef>
              <a:buSzPct val="100000"/>
              <a:buFont typeface="Arial" panose="020B0604020202020204" pitchFamily="34" charset="0"/>
              <a:buChar char="•"/>
            </a:pPr>
            <a:r>
              <a:rPr lang="en-US" sz="1400"/>
              <a:t>[Future] Opportunities</a:t>
            </a:r>
            <a:endParaRPr lang="en-US" sz="1400">
              <a:ea typeface="+mn-lt"/>
              <a:cs typeface="+mn-lt"/>
            </a:endParaRPr>
          </a:p>
          <a:p>
            <a:pPr marL="648000" lvl="1" indent="-215900">
              <a:lnSpc>
                <a:spcPct val="110000"/>
              </a:lnSpc>
              <a:spcBef>
                <a:spcPts val="300"/>
              </a:spcBef>
              <a:buClr>
                <a:schemeClr val="tx1"/>
              </a:buClr>
              <a:buFont typeface="Arial" panose="020B0604020202020204" pitchFamily="34" charset="0"/>
              <a:buChar char="•"/>
            </a:pPr>
            <a:r>
              <a:rPr lang="en-US" sz="1200">
                <a:ea typeface="+mn-lt"/>
                <a:cs typeface="+mn-lt"/>
              </a:rPr>
              <a:t>Routes from different regions </a:t>
            </a:r>
          </a:p>
          <a:p>
            <a:pPr marL="648000" lvl="1" indent="-215900">
              <a:lnSpc>
                <a:spcPct val="110000"/>
              </a:lnSpc>
              <a:spcBef>
                <a:spcPts val="300"/>
              </a:spcBef>
              <a:buClr>
                <a:schemeClr val="tx1"/>
              </a:buClr>
              <a:buFont typeface="Arial" panose="020B0604020202020204" pitchFamily="34" charset="0"/>
              <a:buChar char="•"/>
            </a:pPr>
            <a:r>
              <a:rPr lang="en-US" sz="1200"/>
              <a:t>Global Server L4 LB (“GSLB”) – Increased number of PoP (point of presence)</a:t>
            </a:r>
            <a:endParaRPr lang="en-US" sz="1200">
              <a:cs typeface="Arial"/>
            </a:endParaRPr>
          </a:p>
          <a:p>
            <a:pPr marL="648000" lvl="1" indent="-215900">
              <a:lnSpc>
                <a:spcPct val="110000"/>
              </a:lnSpc>
              <a:spcBef>
                <a:spcPts val="300"/>
              </a:spcBef>
              <a:buClr>
                <a:schemeClr val="tx1"/>
              </a:buClr>
              <a:buFont typeface="Arial" panose="020B0604020202020204" pitchFamily="34" charset="0"/>
              <a:buChar char="•"/>
            </a:pPr>
            <a:r>
              <a:rPr lang="en-US" sz="1200"/>
              <a:t>Smart routing (region-less domain support)</a:t>
            </a:r>
            <a:endParaRPr lang="en-IL" sz="1200">
              <a:cs typeface="Arial"/>
            </a:endParaRPr>
          </a:p>
        </p:txBody>
      </p:sp>
      <p:sp>
        <p:nvSpPr>
          <p:cNvPr id="3" name="Title 2">
            <a:extLst>
              <a:ext uri="{FF2B5EF4-FFF2-40B4-BE49-F238E27FC236}">
                <a16:creationId xmlns:a16="http://schemas.microsoft.com/office/drawing/2014/main" id="{46493A5A-B505-4FF4-9FDD-C7B38061D6D4}"/>
              </a:ext>
            </a:extLst>
          </p:cNvPr>
          <p:cNvSpPr>
            <a:spLocks noGrp="1"/>
          </p:cNvSpPr>
          <p:nvPr>
            <p:ph type="title"/>
          </p:nvPr>
        </p:nvSpPr>
        <p:spPr>
          <a:xfrm>
            <a:off x="6095765" y="504000"/>
            <a:ext cx="5594712" cy="369332"/>
          </a:xfrm>
        </p:spPr>
        <p:txBody>
          <a:bodyPr/>
          <a:lstStyle/>
          <a:p>
            <a:r>
              <a:rPr lang="en-US"/>
              <a:t>Edge HA (Redundancy)</a:t>
            </a:r>
            <a:endParaRPr lang="en-IL"/>
          </a:p>
        </p:txBody>
      </p:sp>
      <p:sp>
        <p:nvSpPr>
          <p:cNvPr id="9" name="Rectangle 8">
            <a:extLst>
              <a:ext uri="{FF2B5EF4-FFF2-40B4-BE49-F238E27FC236}">
                <a16:creationId xmlns:a16="http://schemas.microsoft.com/office/drawing/2014/main" id="{79DC10D8-A50F-1A7B-FC74-AE8B9B8B244A}"/>
              </a:ext>
            </a:extLst>
          </p:cNvPr>
          <p:cNvSpPr/>
          <p:nvPr/>
        </p:nvSpPr>
        <p:spPr bwMode="gray">
          <a:xfrm>
            <a:off x="313414" y="6287334"/>
            <a:ext cx="5302639" cy="479445"/>
          </a:xfrm>
          <a:prstGeom prst="rect">
            <a:avLst/>
          </a:prstGeom>
          <a:solidFill>
            <a:schemeClr val="bg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IL"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8" name="Picture 7">
            <a:extLst>
              <a:ext uri="{FF2B5EF4-FFF2-40B4-BE49-F238E27FC236}">
                <a16:creationId xmlns:a16="http://schemas.microsoft.com/office/drawing/2014/main" id="{C7676B0D-F15F-9A15-0A69-B96926AABCA1}"/>
              </a:ext>
            </a:extLst>
          </p:cNvPr>
          <p:cNvPicPr>
            <a:picLocks noChangeAspect="1"/>
          </p:cNvPicPr>
          <p:nvPr/>
        </p:nvPicPr>
        <p:blipFill>
          <a:blip r:embed="rId3"/>
          <a:stretch>
            <a:fillRect/>
          </a:stretch>
        </p:blipFill>
        <p:spPr>
          <a:xfrm>
            <a:off x="504002" y="162000"/>
            <a:ext cx="6285874" cy="6534000"/>
          </a:xfrm>
          <a:prstGeom prst="rect">
            <a:avLst/>
          </a:prstGeom>
        </p:spPr>
      </p:pic>
    </p:spTree>
    <p:extLst>
      <p:ext uri="{BB962C8B-B14F-4D97-AF65-F5344CB8AC3E}">
        <p14:creationId xmlns:p14="http://schemas.microsoft.com/office/powerpoint/2010/main" val="16508523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493A5A-B505-4FF4-9FDD-C7B38061D6D4}"/>
              </a:ext>
            </a:extLst>
          </p:cNvPr>
          <p:cNvSpPr>
            <a:spLocks noGrp="1"/>
          </p:cNvSpPr>
          <p:nvPr>
            <p:ph type="title"/>
          </p:nvPr>
        </p:nvSpPr>
        <p:spPr/>
        <p:txBody>
          <a:bodyPr/>
          <a:lstStyle/>
          <a:p>
            <a:r>
              <a:rPr lang="en-US"/>
              <a:t>DNS and Certificate Management</a:t>
            </a:r>
            <a:endParaRPr lang="en-IL"/>
          </a:p>
        </p:txBody>
      </p:sp>
      <p:sp>
        <p:nvSpPr>
          <p:cNvPr id="6" name="Textplatzhalter 1">
            <a:extLst>
              <a:ext uri="{FF2B5EF4-FFF2-40B4-BE49-F238E27FC236}">
                <a16:creationId xmlns:a16="http://schemas.microsoft.com/office/drawing/2014/main" id="{F7D48845-9480-4C26-8578-E050C75837BD}"/>
              </a:ext>
            </a:extLst>
          </p:cNvPr>
          <p:cNvSpPr txBox="1">
            <a:spLocks/>
          </p:cNvSpPr>
          <p:nvPr/>
        </p:nvSpPr>
        <p:spPr bwMode="black">
          <a:xfrm>
            <a:off x="5450095" y="6242046"/>
            <a:ext cx="2537680" cy="228852"/>
          </a:xfrm>
          <a:prstGeom prst="rect">
            <a:avLst/>
          </a:prstGeom>
        </p:spPr>
        <p:txBody>
          <a:bodyPr vert="horz" lIns="0" tIns="0" rIns="0" bIns="0" rtlCol="0">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a:r>
              <a:rPr lang="en-US" sz="1200">
                <a:solidFill>
                  <a:schemeClr val="accent2"/>
                </a:solidFill>
                <a:hlinkClick r:id="rId3"/>
              </a:rPr>
              <a:t>More information</a:t>
            </a:r>
            <a:r>
              <a:rPr lang="en-US" sz="1200">
                <a:solidFill>
                  <a:schemeClr val="accent2"/>
                </a:solidFill>
              </a:rPr>
              <a:t>, </a:t>
            </a:r>
            <a:r>
              <a:rPr lang="en-US" sz="1200">
                <a:solidFill>
                  <a:schemeClr val="accent2"/>
                </a:solidFill>
                <a:hlinkClick r:id="rId4"/>
              </a:rPr>
              <a:t>Guide 1</a:t>
            </a:r>
            <a:r>
              <a:rPr lang="en-US" sz="1200">
                <a:solidFill>
                  <a:schemeClr val="accent2"/>
                </a:solidFill>
              </a:rPr>
              <a:t>, </a:t>
            </a:r>
            <a:r>
              <a:rPr lang="en-US" sz="1200">
                <a:solidFill>
                  <a:schemeClr val="accent2"/>
                </a:solidFill>
                <a:hlinkClick r:id="rId5"/>
              </a:rPr>
              <a:t>Guide 2</a:t>
            </a:r>
            <a:endParaRPr lang="en-US" sz="1200">
              <a:solidFill>
                <a:schemeClr val="accent2"/>
              </a:solidFill>
            </a:endParaRPr>
          </a:p>
        </p:txBody>
      </p:sp>
      <p:pic>
        <p:nvPicPr>
          <p:cNvPr id="7" name="Graphic 6" descr="Information outline">
            <a:extLst>
              <a:ext uri="{FF2B5EF4-FFF2-40B4-BE49-F238E27FC236}">
                <a16:creationId xmlns:a16="http://schemas.microsoft.com/office/drawing/2014/main" id="{010398C4-5178-4E4C-AB85-3CEA00FF6D2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15955" y="6240162"/>
            <a:ext cx="180000" cy="180000"/>
          </a:xfrm>
          <a:prstGeom prst="rect">
            <a:avLst/>
          </a:prstGeom>
        </p:spPr>
      </p:pic>
      <p:sp>
        <p:nvSpPr>
          <p:cNvPr id="4" name="Text Placeholder 1">
            <a:extLst>
              <a:ext uri="{FF2B5EF4-FFF2-40B4-BE49-F238E27FC236}">
                <a16:creationId xmlns:a16="http://schemas.microsoft.com/office/drawing/2014/main" id="{51BAEDA2-A7C6-1365-9049-3DF8452523C8}"/>
              </a:ext>
            </a:extLst>
          </p:cNvPr>
          <p:cNvSpPr>
            <a:spLocks noGrp="1"/>
          </p:cNvSpPr>
          <p:nvPr>
            <p:ph type="body" sz="quarter" idx="10"/>
          </p:nvPr>
        </p:nvSpPr>
        <p:spPr>
          <a:xfrm>
            <a:off x="8155071" y="2126826"/>
            <a:ext cx="3535406" cy="4172374"/>
          </a:xfrm>
        </p:spPr>
        <p:txBody>
          <a:bodyPr vert="horz" lIns="0" tIns="0" rIns="0" bIns="0" rtlCol="0" anchor="t">
            <a:normAutofit/>
          </a:bodyPr>
          <a:lstStyle/>
          <a:p>
            <a:pPr marL="215900" indent="-215900">
              <a:lnSpc>
                <a:spcPct val="110000"/>
              </a:lnSpc>
              <a:spcBef>
                <a:spcPts val="600"/>
              </a:spcBef>
              <a:buSzPct val="100000"/>
              <a:buFont typeface="Arial" panose="020B0604020202020204" pitchFamily="34" charset="0"/>
              <a:buChar char="•"/>
            </a:pPr>
            <a:r>
              <a:rPr lang="en-US" sz="1200"/>
              <a:t>Automate DNS and Certificate management</a:t>
            </a:r>
          </a:p>
          <a:p>
            <a:pPr marL="215900" indent="-215900">
              <a:lnSpc>
                <a:spcPct val="110000"/>
              </a:lnSpc>
              <a:spcBef>
                <a:spcPts val="1200"/>
              </a:spcBef>
              <a:buSzPct val="100000"/>
              <a:buFont typeface="Arial" panose="020B0604020202020204" pitchFamily="34" charset="0"/>
              <a:buChar char="•"/>
            </a:pPr>
            <a:r>
              <a:rPr lang="en-US" sz="1200"/>
              <a:t>One time setup: DNS delegation to UGW</a:t>
            </a:r>
          </a:p>
          <a:p>
            <a:pPr marL="215900" indent="-215900">
              <a:lnSpc>
                <a:spcPct val="110000"/>
              </a:lnSpc>
              <a:spcBef>
                <a:spcPts val="1200"/>
              </a:spcBef>
              <a:buSzPct val="100000"/>
              <a:buFont typeface="Arial" panose="020B0604020202020204" pitchFamily="34" charset="0"/>
              <a:buChar char="•"/>
            </a:pPr>
            <a:r>
              <a:rPr lang="en-US" sz="1200"/>
              <a:t>Enable LoB cross-platform, cross-product, and cross-tenant central domain unification and control</a:t>
            </a:r>
          </a:p>
          <a:p>
            <a:pPr marL="648000" lvl="1" indent="-215900">
              <a:lnSpc>
                <a:spcPct val="110000"/>
              </a:lnSpc>
              <a:spcBef>
                <a:spcPts val="300"/>
              </a:spcBef>
              <a:buClr>
                <a:schemeClr val="tx1"/>
              </a:buClr>
              <a:buFont typeface="Arial" panose="020B0604020202020204" pitchFamily="34" charset="0"/>
              <a:buChar char="•"/>
            </a:pPr>
            <a:r>
              <a:rPr lang="en-US" sz="1200"/>
              <a:t>Example: Same domain can be used to access CF/Kyma and LoB legacy landscape</a:t>
            </a:r>
          </a:p>
          <a:p>
            <a:pPr marL="215900" indent="-215900">
              <a:lnSpc>
                <a:spcPct val="110000"/>
              </a:lnSpc>
              <a:spcBef>
                <a:spcPts val="1200"/>
              </a:spcBef>
              <a:buSzPct val="100000"/>
              <a:buFont typeface="Arial" panose="020B0604020202020204" pitchFamily="34" charset="0"/>
              <a:buChar char="•"/>
            </a:pPr>
            <a:r>
              <a:rPr lang="en-US" sz="1200"/>
              <a:t>Enable control and visibility to central SAP teams, such as SGS and IT</a:t>
            </a:r>
          </a:p>
          <a:p>
            <a:pPr marL="215900" indent="-215900">
              <a:lnSpc>
                <a:spcPct val="110000"/>
              </a:lnSpc>
              <a:spcBef>
                <a:spcPts val="1200"/>
              </a:spcBef>
              <a:buSzPct val="100000"/>
              <a:buFont typeface="Arial" panose="020B0604020202020204" pitchFamily="34" charset="0"/>
              <a:buChar char="•"/>
            </a:pPr>
            <a:r>
              <a:rPr lang="en-US" sz="1200"/>
              <a:t>Future opportunity: domain migration feature, include domain coexistence, blocking new customers, deprecation warning and redirect</a:t>
            </a:r>
          </a:p>
          <a:p>
            <a:pPr>
              <a:lnSpc>
                <a:spcPct val="110000"/>
              </a:lnSpc>
              <a:spcBef>
                <a:spcPts val="1200"/>
              </a:spcBef>
              <a:buSzPct val="100000"/>
            </a:pPr>
            <a:endParaRPr lang="en-US" sz="1200"/>
          </a:p>
        </p:txBody>
      </p:sp>
      <p:pic>
        <p:nvPicPr>
          <p:cNvPr id="2" name="Picture 1">
            <a:extLst>
              <a:ext uri="{FF2B5EF4-FFF2-40B4-BE49-F238E27FC236}">
                <a16:creationId xmlns:a16="http://schemas.microsoft.com/office/drawing/2014/main" id="{E10E9A25-5FF7-D6E9-5A25-E448BB4C1EC5}"/>
              </a:ext>
            </a:extLst>
          </p:cNvPr>
          <p:cNvPicPr>
            <a:picLocks noChangeAspect="1"/>
          </p:cNvPicPr>
          <p:nvPr/>
        </p:nvPicPr>
        <p:blipFill>
          <a:blip r:embed="rId8"/>
          <a:stretch>
            <a:fillRect/>
          </a:stretch>
        </p:blipFill>
        <p:spPr>
          <a:xfrm>
            <a:off x="1640310" y="2128705"/>
            <a:ext cx="4584942" cy="3061143"/>
          </a:xfrm>
          <a:prstGeom prst="rect">
            <a:avLst/>
          </a:prstGeom>
        </p:spPr>
      </p:pic>
    </p:spTree>
    <p:extLst>
      <p:ext uri="{BB962C8B-B14F-4D97-AF65-F5344CB8AC3E}">
        <p14:creationId xmlns:p14="http://schemas.microsoft.com/office/powerpoint/2010/main" val="22734826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493A5A-B505-4FF4-9FDD-C7B38061D6D4}"/>
              </a:ext>
            </a:extLst>
          </p:cNvPr>
          <p:cNvSpPr>
            <a:spLocks noGrp="1"/>
          </p:cNvSpPr>
          <p:nvPr>
            <p:ph type="title"/>
          </p:nvPr>
        </p:nvSpPr>
        <p:spPr/>
        <p:txBody>
          <a:bodyPr/>
          <a:lstStyle/>
          <a:p>
            <a:r>
              <a:rPr lang="en-US"/>
              <a:t>Rate Limiting</a:t>
            </a:r>
            <a:endParaRPr lang="en-IL"/>
          </a:p>
        </p:txBody>
      </p:sp>
      <p:sp>
        <p:nvSpPr>
          <p:cNvPr id="6" name="Textplatzhalter 1">
            <a:extLst>
              <a:ext uri="{FF2B5EF4-FFF2-40B4-BE49-F238E27FC236}">
                <a16:creationId xmlns:a16="http://schemas.microsoft.com/office/drawing/2014/main" id="{F7D48845-9480-4C26-8578-E050C75837BD}"/>
              </a:ext>
            </a:extLst>
          </p:cNvPr>
          <p:cNvSpPr txBox="1">
            <a:spLocks/>
          </p:cNvSpPr>
          <p:nvPr/>
        </p:nvSpPr>
        <p:spPr bwMode="black">
          <a:xfrm>
            <a:off x="5202006" y="6242046"/>
            <a:ext cx="2366236" cy="228852"/>
          </a:xfrm>
          <a:prstGeom prst="rect">
            <a:avLst/>
          </a:prstGeom>
        </p:spPr>
        <p:txBody>
          <a:bodyPr vert="horz" lIns="0" tIns="0" rIns="0" bIns="0" rtlCol="0">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a:r>
              <a:rPr lang="en-US" sz="1200">
                <a:solidFill>
                  <a:schemeClr val="accent2"/>
                </a:solidFill>
                <a:hlinkClick r:id="rId3"/>
              </a:rPr>
              <a:t>More information</a:t>
            </a:r>
            <a:r>
              <a:rPr lang="en-US" sz="1200">
                <a:solidFill>
                  <a:schemeClr val="accent2"/>
                </a:solidFill>
              </a:rPr>
              <a:t>, </a:t>
            </a:r>
            <a:r>
              <a:rPr lang="en-US" sz="1200">
                <a:solidFill>
                  <a:schemeClr val="accent2"/>
                </a:solidFill>
                <a:hlinkClick r:id="rId4"/>
              </a:rPr>
              <a:t>Guide</a:t>
            </a:r>
            <a:endParaRPr lang="en-US" sz="1200">
              <a:solidFill>
                <a:schemeClr val="accent2"/>
              </a:solidFill>
            </a:endParaRPr>
          </a:p>
        </p:txBody>
      </p:sp>
      <p:pic>
        <p:nvPicPr>
          <p:cNvPr id="7" name="Graphic 6" descr="Information outline">
            <a:extLst>
              <a:ext uri="{FF2B5EF4-FFF2-40B4-BE49-F238E27FC236}">
                <a16:creationId xmlns:a16="http://schemas.microsoft.com/office/drawing/2014/main" id="{010398C4-5178-4E4C-AB85-3CEA00FF6D2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23046" y="6254338"/>
            <a:ext cx="180000" cy="180000"/>
          </a:xfrm>
          <a:prstGeom prst="rect">
            <a:avLst/>
          </a:prstGeom>
        </p:spPr>
      </p:pic>
      <p:pic>
        <p:nvPicPr>
          <p:cNvPr id="4" name="Picture 3">
            <a:extLst>
              <a:ext uri="{FF2B5EF4-FFF2-40B4-BE49-F238E27FC236}">
                <a16:creationId xmlns:a16="http://schemas.microsoft.com/office/drawing/2014/main" id="{04FE11CC-0120-B650-1DCA-49B9FD520F4D}"/>
              </a:ext>
            </a:extLst>
          </p:cNvPr>
          <p:cNvPicPr>
            <a:picLocks noChangeAspect="1"/>
          </p:cNvPicPr>
          <p:nvPr/>
        </p:nvPicPr>
        <p:blipFill>
          <a:blip r:embed="rId7"/>
          <a:stretch>
            <a:fillRect/>
          </a:stretch>
        </p:blipFill>
        <p:spPr>
          <a:xfrm>
            <a:off x="3032028" y="1578419"/>
            <a:ext cx="6130800" cy="4394924"/>
          </a:xfrm>
          <a:prstGeom prst="rect">
            <a:avLst/>
          </a:prstGeom>
        </p:spPr>
      </p:pic>
    </p:spTree>
    <p:extLst>
      <p:ext uri="{BB962C8B-B14F-4D97-AF65-F5344CB8AC3E}">
        <p14:creationId xmlns:p14="http://schemas.microsoft.com/office/powerpoint/2010/main" val="25208645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111847DD-AAE4-4B4A-B429-7AC1E36D2E4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47202" y="928148"/>
            <a:ext cx="3597750" cy="449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a:extLst>
              <a:ext uri="{FF2B5EF4-FFF2-40B4-BE49-F238E27FC236}">
                <a16:creationId xmlns:a16="http://schemas.microsoft.com/office/drawing/2014/main" id="{FBC85ACB-ACC7-97DD-6218-921444FB1A8E}"/>
              </a:ext>
            </a:extLst>
          </p:cNvPr>
          <p:cNvSpPr>
            <a:spLocks noGrp="1"/>
          </p:cNvSpPr>
          <p:nvPr>
            <p:ph type="body" sz="quarter" idx="10"/>
          </p:nvPr>
        </p:nvSpPr>
        <p:spPr>
          <a:xfrm>
            <a:off x="504000" y="1620000"/>
            <a:ext cx="8216488" cy="2923124"/>
          </a:xfrm>
        </p:spPr>
        <p:txBody>
          <a:bodyPr>
            <a:normAutofit/>
          </a:bodyPr>
          <a:lstStyle/>
          <a:p>
            <a:pPr marL="179874" lvl="1" indent="-179874" defTabSz="1088013">
              <a:spcBef>
                <a:spcPts val="1200"/>
              </a:spcBef>
              <a:buClr>
                <a:srgbClr val="F0AB00"/>
              </a:buClr>
              <a:defRPr/>
            </a:pPr>
            <a:r>
              <a:rPr lang="en-US">
                <a:solidFill>
                  <a:sysClr val="windowText" lastClr="000000"/>
                </a:solidFill>
                <a:latin typeface="Arial"/>
              </a:rPr>
              <a:t>UGW runs side-by-side to the endpoint it serves (outside of the workload VPC) and communicate with the workload based on HTTP Requests. </a:t>
            </a:r>
            <a:endParaRPr lang="he-IL">
              <a:solidFill>
                <a:sysClr val="windowText" lastClr="000000"/>
              </a:solidFill>
              <a:latin typeface="Arial"/>
            </a:endParaRPr>
          </a:p>
          <a:p>
            <a:pPr marL="179874" lvl="1" indent="-179874" defTabSz="1088013">
              <a:spcBef>
                <a:spcPts val="1200"/>
              </a:spcBef>
              <a:buClr>
                <a:srgbClr val="F0AB00"/>
              </a:buClr>
              <a:defRPr/>
            </a:pPr>
            <a:r>
              <a:rPr lang="en-US" sz="1800"/>
              <a:t>The communication to the upstream is done securely using mTLS (private network is planned).</a:t>
            </a:r>
          </a:p>
          <a:p>
            <a:pPr marL="285750" indent="-285750">
              <a:buFont typeface="Wingdings" panose="05000000000000000000" pitchFamily="2" charset="2"/>
              <a:buChar char="è"/>
            </a:pPr>
            <a:r>
              <a:rPr lang="en-US" sz="1800" b="1">
                <a:sym typeface="Wingdings" panose="05000000000000000000" pitchFamily="2" charset="2"/>
              </a:rPr>
              <a:t>UGW is agnostic to the workload technology stack.</a:t>
            </a:r>
          </a:p>
          <a:p>
            <a:pPr marL="179874" lvl="1" indent="-179874" defTabSz="1088013">
              <a:spcBef>
                <a:spcPts val="1200"/>
              </a:spcBef>
              <a:buClr>
                <a:srgbClr val="F0AB00"/>
              </a:buClr>
              <a:defRPr/>
            </a:pPr>
            <a:endParaRPr lang="en-US"/>
          </a:p>
          <a:p>
            <a:pPr marL="179874" lvl="1" indent="-179874" defTabSz="1088013">
              <a:spcBef>
                <a:spcPts val="1200"/>
              </a:spcBef>
              <a:buClr>
                <a:srgbClr val="F0AB00"/>
              </a:buClr>
              <a:defRPr/>
            </a:pPr>
            <a:r>
              <a:rPr lang="en-US"/>
              <a:t>Traffic compatibility, for brownfield solutions should be checked as UGW strive for higher security configuration (protocol versions, TLS settings and more)</a:t>
            </a:r>
          </a:p>
          <a:p>
            <a:endParaRPr lang="en-US" sz="1800"/>
          </a:p>
        </p:txBody>
      </p:sp>
      <p:sp>
        <p:nvSpPr>
          <p:cNvPr id="3" name="Title 2">
            <a:extLst>
              <a:ext uri="{FF2B5EF4-FFF2-40B4-BE49-F238E27FC236}">
                <a16:creationId xmlns:a16="http://schemas.microsoft.com/office/drawing/2014/main" id="{E1B79F33-0F39-1B5F-3041-9F7B293A045C}"/>
              </a:ext>
            </a:extLst>
          </p:cNvPr>
          <p:cNvSpPr>
            <a:spLocks noGrp="1"/>
          </p:cNvSpPr>
          <p:nvPr>
            <p:ph type="title"/>
          </p:nvPr>
        </p:nvSpPr>
        <p:spPr>
          <a:xfrm>
            <a:off x="504001" y="504000"/>
            <a:ext cx="11186476" cy="369332"/>
          </a:xfrm>
        </p:spPr>
        <p:txBody>
          <a:bodyPr/>
          <a:lstStyle/>
          <a:p>
            <a:r>
              <a:rPr lang="en-US"/>
              <a:t>UGW is workload Technology Stack Agnostic</a:t>
            </a:r>
          </a:p>
        </p:txBody>
      </p:sp>
      <p:sp>
        <p:nvSpPr>
          <p:cNvPr id="8" name="TextBox 7">
            <a:extLst>
              <a:ext uri="{FF2B5EF4-FFF2-40B4-BE49-F238E27FC236}">
                <a16:creationId xmlns:a16="http://schemas.microsoft.com/office/drawing/2014/main" id="{79C3BDA8-F8D1-E7DA-F0ED-41F8BAA8978B}"/>
              </a:ext>
            </a:extLst>
          </p:cNvPr>
          <p:cNvSpPr txBox="1"/>
          <p:nvPr/>
        </p:nvSpPr>
        <p:spPr>
          <a:xfrm>
            <a:off x="504000" y="4946902"/>
            <a:ext cx="9246392" cy="1458669"/>
          </a:xfrm>
          <a:prstGeom prst="rect">
            <a:avLst/>
          </a:prstGeom>
        </p:spPr>
        <p:txBody>
          <a:bodyPr vert="horz" lIns="0" tIns="0" rIns="0" bIns="0" rtlCol="0">
            <a:normAutofit/>
          </a:bodyPr>
          <a:lstStyle>
            <a:lvl1pPr marL="285750" indent="-285750" defTabSz="1088558">
              <a:spcBef>
                <a:spcPts val="1800"/>
              </a:spcBef>
              <a:buClr>
                <a:schemeClr val="accent1"/>
              </a:buClr>
              <a:buSzPct val="80000"/>
              <a:buFont typeface="Arial" panose="020B0604020202020204" pitchFamily="34" charset="0"/>
              <a:buChar char="•"/>
              <a:defRPr sz="1800" b="0">
                <a:latin typeface="+mn-lt"/>
              </a:defRPr>
            </a:lvl1pPr>
            <a:lvl2pPr marL="179964" indent="-179964" defTabSz="1088558">
              <a:spcBef>
                <a:spcPts val="600"/>
              </a:spcBef>
              <a:buClr>
                <a:schemeClr val="accent1"/>
              </a:buClr>
              <a:buFont typeface="Wingdings" pitchFamily="2" charset="2"/>
              <a:buChar char="§"/>
              <a:defRPr sz="1800">
                <a:latin typeface="+mn-lt"/>
              </a:defRPr>
            </a:lvl2pPr>
            <a:lvl3pPr marL="358775" indent="-179388" defTabSz="1088558">
              <a:spcBef>
                <a:spcPts val="300"/>
              </a:spcBef>
              <a:buClr>
                <a:schemeClr val="tx1"/>
              </a:buClr>
              <a:buSzPct val="100000"/>
              <a:buFont typeface="Arial" panose="020B0604020202020204" pitchFamily="34" charset="0"/>
              <a:buChar char="–"/>
              <a:defRPr lang="en-US" sz="1800" noProof="0" dirty="0" smtClean="0">
                <a:latin typeface="+mn-lt"/>
              </a:defRPr>
            </a:lvl3pPr>
            <a:lvl4pPr marL="539892" indent="-179964" defTabSz="1088558">
              <a:spcBef>
                <a:spcPts val="300"/>
              </a:spcBef>
              <a:buClr>
                <a:schemeClr val="tx1"/>
              </a:buClr>
              <a:buSzPct val="120000"/>
              <a:buFont typeface="Arial" pitchFamily="34" charset="0"/>
              <a:buChar char="▫"/>
              <a:defRPr sz="1600">
                <a:latin typeface="+mn-lt"/>
              </a:defRPr>
            </a:lvl4pPr>
            <a:lvl5pPr marL="719856" indent="-179964" defTabSz="1088558">
              <a:spcBef>
                <a:spcPts val="100"/>
              </a:spcBef>
              <a:buClr>
                <a:schemeClr val="tx1"/>
              </a:buClr>
              <a:buSzPct val="100000"/>
              <a:buFont typeface="Symbol" panose="05050102010706020507" pitchFamily="18" charset="2"/>
              <a:buChar char="-"/>
              <a:defRPr sz="1400" baseline="0">
                <a:latin typeface="+mn-lt"/>
              </a:defRPr>
            </a:lvl5pPr>
            <a:lvl6pPr marL="2993535" indent="-272140" defTabSz="1088558">
              <a:spcBef>
                <a:spcPct val="20000"/>
              </a:spcBef>
              <a:buFont typeface="Arial" pitchFamily="34" charset="0"/>
              <a:buChar char="•"/>
              <a:defRPr sz="2400"/>
            </a:lvl6pPr>
            <a:lvl7pPr marL="3537814" indent="-272140" defTabSz="1088558">
              <a:spcBef>
                <a:spcPct val="20000"/>
              </a:spcBef>
              <a:buFont typeface="Arial" pitchFamily="34" charset="0"/>
              <a:buChar char="•"/>
              <a:defRPr sz="2400"/>
            </a:lvl7pPr>
            <a:lvl8pPr marL="4082093" indent="-272140" defTabSz="1088558">
              <a:spcBef>
                <a:spcPct val="20000"/>
              </a:spcBef>
              <a:buFont typeface="Arial" pitchFamily="34" charset="0"/>
              <a:buChar char="•"/>
              <a:defRPr sz="2400"/>
            </a:lvl8pPr>
            <a:lvl9pPr marL="4626373" indent="-272140" defTabSz="1088558">
              <a:spcBef>
                <a:spcPct val="20000"/>
              </a:spcBef>
              <a:buFont typeface="Arial" pitchFamily="34" charset="0"/>
              <a:buChar char="•"/>
              <a:defRPr sz="2400"/>
            </a:lvl9pPr>
          </a:lstStyle>
          <a:p>
            <a:pPr marL="179874" lvl="1" indent="-179874" defTabSz="1088013">
              <a:spcBef>
                <a:spcPts val="1200"/>
              </a:spcBef>
              <a:buClr>
                <a:srgbClr val="F0AB00"/>
              </a:buClr>
              <a:defRPr/>
            </a:pPr>
            <a:endParaRPr lang="en-US"/>
          </a:p>
        </p:txBody>
      </p:sp>
    </p:spTree>
    <p:extLst>
      <p:ext uri="{BB962C8B-B14F-4D97-AF65-F5344CB8AC3E}">
        <p14:creationId xmlns:p14="http://schemas.microsoft.com/office/powerpoint/2010/main" val="13928421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51BAEDA2-A7C6-1365-9049-3DF8452523C8}"/>
              </a:ext>
            </a:extLst>
          </p:cNvPr>
          <p:cNvSpPr>
            <a:spLocks noGrp="1"/>
          </p:cNvSpPr>
          <p:nvPr>
            <p:ph type="body" sz="quarter" idx="10"/>
          </p:nvPr>
        </p:nvSpPr>
        <p:spPr>
          <a:xfrm>
            <a:off x="504000" y="1392568"/>
            <a:ext cx="11027065" cy="4674070"/>
          </a:xfrm>
        </p:spPr>
        <p:txBody>
          <a:bodyPr vert="horz" lIns="0" tIns="0" rIns="0" bIns="0" rtlCol="0" anchor="t">
            <a:normAutofit/>
          </a:bodyPr>
          <a:lstStyle/>
          <a:p>
            <a:pPr marL="179874" lvl="1" indent="-179874" defTabSz="1088013">
              <a:spcBef>
                <a:spcPts val="1200"/>
              </a:spcBef>
              <a:spcAft>
                <a:spcPts val="1200"/>
              </a:spcAft>
              <a:buClr>
                <a:srgbClr val="F0AB00"/>
              </a:buClr>
              <a:defRPr/>
            </a:pPr>
            <a:r>
              <a:rPr lang="en-US" sz="1600">
                <a:latin typeface="+mj-lt"/>
              </a:rPr>
              <a:t>For BTP Cloud Foundry environment a “special”, easier to use integration was introduced, to streamline the adoption of UGW. (Streamlined integration for BTP </a:t>
            </a:r>
            <a:r>
              <a:rPr lang="en-US" sz="1600" err="1">
                <a:latin typeface="+mj-lt"/>
              </a:rPr>
              <a:t>Kyma</a:t>
            </a:r>
            <a:r>
              <a:rPr lang="en-US" sz="1600">
                <a:latin typeface="+mj-lt"/>
              </a:rPr>
              <a:t> is planned)</a:t>
            </a:r>
            <a:endParaRPr lang="en-US" sz="1200">
              <a:solidFill>
                <a:sysClr val="windowText" lastClr="000000"/>
              </a:solidFill>
              <a:latin typeface="+mj-lt"/>
            </a:endParaRPr>
          </a:p>
          <a:p>
            <a:pPr marL="179874" marR="0" lvl="1" indent="-179874" defTabSz="1088013" fontAlgn="auto">
              <a:lnSpc>
                <a:spcPct val="100000"/>
              </a:lnSpc>
              <a:spcBef>
                <a:spcPts val="1200"/>
              </a:spcBef>
              <a:spcAft>
                <a:spcPts val="1200"/>
              </a:spcAft>
              <a:buClr>
                <a:srgbClr val="F0AB00"/>
              </a:buClr>
              <a:tabLst/>
              <a:defRPr/>
            </a:pPr>
            <a:r>
              <a:rPr lang="en-US" sz="1600">
                <a:solidFill>
                  <a:sysClr val="windowText" lastClr="000000"/>
                </a:solidFill>
                <a:latin typeface="Arial"/>
              </a:rPr>
              <a:t>UGW runs side-by-side to Cloud Foundry Stack on the same </a:t>
            </a:r>
            <a:r>
              <a:rPr lang="en-US" sz="1600" err="1">
                <a:solidFill>
                  <a:sysClr val="windowText" lastClr="000000"/>
                </a:solidFill>
                <a:latin typeface="Arial"/>
              </a:rPr>
              <a:t>hyperscaler</a:t>
            </a:r>
            <a:r>
              <a:rPr lang="en-US" sz="1600">
                <a:solidFill>
                  <a:sysClr val="windowText" lastClr="000000"/>
                </a:solidFill>
                <a:latin typeface="Arial"/>
              </a:rPr>
              <a:t> datacenter, with an optimized integration:</a:t>
            </a:r>
          </a:p>
          <a:p>
            <a:pPr marL="465714" lvl="1" indent="-285750">
              <a:spcBef>
                <a:spcPts val="0"/>
              </a:spcBef>
              <a:spcAft>
                <a:spcPts val="600"/>
              </a:spcAft>
              <a:buClr>
                <a:srgbClr val="F0AB00"/>
              </a:buClr>
              <a:buSzPct val="80000"/>
              <a:buFont typeface="Wingdings" panose="05000000000000000000" pitchFamily="2" charset="2"/>
              <a:buChar char="è"/>
              <a:defRPr/>
            </a:pPr>
            <a:r>
              <a:rPr kumimoji="0" lang="en-US" sz="1600" b="0" i="0" u="none" strike="noStrike" kern="1200" cap="none" spc="0" normalizeH="0" baseline="0" noProof="0">
                <a:ln>
                  <a:noFill/>
                </a:ln>
                <a:solidFill>
                  <a:srgbClr val="000000"/>
                </a:solidFill>
                <a:effectLst/>
                <a:uLnTx/>
                <a:uFillTx/>
                <a:latin typeface="Arial"/>
                <a:ea typeface="+mn-ea"/>
                <a:cs typeface="+mn-cs"/>
              </a:rPr>
              <a:t>N</a:t>
            </a:r>
            <a:r>
              <a:rPr lang="en-US" sz="1600">
                <a:solidFill>
                  <a:srgbClr val="000000"/>
                </a:solidFill>
                <a:latin typeface="Arial"/>
              </a:rPr>
              <a:t>o additional L7 proxy is added</a:t>
            </a:r>
          </a:p>
          <a:p>
            <a:pPr marL="465714" lvl="1" indent="-285750">
              <a:spcBef>
                <a:spcPts val="0"/>
              </a:spcBef>
              <a:spcAft>
                <a:spcPts val="600"/>
              </a:spcAft>
              <a:buClr>
                <a:srgbClr val="F0AB00"/>
              </a:buClr>
              <a:buSzPct val="80000"/>
              <a:buFont typeface="Wingdings" panose="05000000000000000000" pitchFamily="2" charset="2"/>
              <a:buChar char="è"/>
              <a:defRPr/>
            </a:pPr>
            <a:r>
              <a:rPr lang="en-US" sz="1600">
                <a:solidFill>
                  <a:srgbClr val="000000"/>
                </a:solidFill>
                <a:latin typeface="Arial"/>
              </a:rPr>
              <a:t>Eliminating the application domain and certificate TCO</a:t>
            </a:r>
          </a:p>
          <a:p>
            <a:pPr marL="179874" lvl="1" indent="-179874" defTabSz="1088013">
              <a:spcBef>
                <a:spcPts val="1200"/>
              </a:spcBef>
              <a:spcAft>
                <a:spcPts val="1200"/>
              </a:spcAft>
              <a:buClr>
                <a:srgbClr val="F0AB00"/>
              </a:buClr>
              <a:defRPr/>
            </a:pPr>
            <a:r>
              <a:rPr lang="en-US" sz="1600">
                <a:latin typeface="+mj-lt"/>
              </a:rPr>
              <a:t>Adoption of UGW is done in an opt-in mode per application domain, with full control based on DNS on the gradual exposure and potential rollback. </a:t>
            </a:r>
          </a:p>
          <a:p>
            <a:pPr marL="179874" lvl="1" indent="-179874" defTabSz="1088013">
              <a:spcBef>
                <a:spcPts val="1200"/>
              </a:spcBef>
              <a:spcAft>
                <a:spcPts val="1200"/>
              </a:spcAft>
              <a:buClr>
                <a:srgbClr val="F0AB00"/>
              </a:buClr>
              <a:defRPr/>
            </a:pPr>
            <a:r>
              <a:rPr lang="en-US" sz="1600">
                <a:latin typeface="+mj-lt"/>
              </a:rPr>
              <a:t>The adoption include, configuration of UGW</a:t>
            </a:r>
            <a:br>
              <a:rPr lang="en-US" sz="1600">
                <a:latin typeface="+mj-lt"/>
              </a:rPr>
            </a:br>
            <a:r>
              <a:rPr lang="en-US" sz="1600">
                <a:latin typeface="+mj-lt"/>
              </a:rPr>
              <a:t>Configuration on cloud foundry, and </a:t>
            </a:r>
            <a:br>
              <a:rPr lang="en-US" sz="1600">
                <a:latin typeface="+mj-lt"/>
              </a:rPr>
            </a:br>
            <a:r>
              <a:rPr lang="en-US" sz="1600">
                <a:latin typeface="+mj-lt"/>
              </a:rPr>
              <a:t>DNS delegation. No code, just configuration</a:t>
            </a:r>
          </a:p>
        </p:txBody>
      </p:sp>
      <p:pic>
        <p:nvPicPr>
          <p:cNvPr id="2" name="Picture 2">
            <a:extLst>
              <a:ext uri="{FF2B5EF4-FFF2-40B4-BE49-F238E27FC236}">
                <a16:creationId xmlns:a16="http://schemas.microsoft.com/office/drawing/2014/main" id="{1AE68978-1F2D-2404-1BB3-2FA7EC02F8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2789" y="3729603"/>
            <a:ext cx="6673108" cy="2986754"/>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46493A5A-B505-4FF4-9FDD-C7B38061D6D4}"/>
              </a:ext>
            </a:extLst>
          </p:cNvPr>
          <p:cNvSpPr>
            <a:spLocks noGrp="1"/>
          </p:cNvSpPr>
          <p:nvPr>
            <p:ph type="title"/>
          </p:nvPr>
        </p:nvSpPr>
        <p:spPr/>
        <p:txBody>
          <a:bodyPr/>
          <a:lstStyle/>
          <a:p>
            <a:r>
              <a:rPr lang="en-US"/>
              <a:t>Cloud Foundry Integration</a:t>
            </a:r>
            <a:endParaRPr lang="en-IL"/>
          </a:p>
        </p:txBody>
      </p:sp>
    </p:spTree>
    <p:extLst>
      <p:ext uri="{BB962C8B-B14F-4D97-AF65-F5344CB8AC3E}">
        <p14:creationId xmlns:p14="http://schemas.microsoft.com/office/powerpoint/2010/main" val="137029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F40AE27-5E0C-7626-D62E-F980B5485D02}"/>
              </a:ext>
            </a:extLst>
          </p:cNvPr>
          <p:cNvSpPr>
            <a:spLocks noGrp="1"/>
          </p:cNvSpPr>
          <p:nvPr>
            <p:ph type="body" sz="quarter" idx="10"/>
          </p:nvPr>
        </p:nvSpPr>
        <p:spPr/>
        <p:txBody>
          <a:bodyPr>
            <a:normAutofit/>
          </a:bodyPr>
          <a:lstStyle/>
          <a:p>
            <a:r>
              <a:rPr lang="en-US"/>
              <a:t>Motivation</a:t>
            </a:r>
          </a:p>
          <a:p>
            <a:r>
              <a:rPr lang="en-US"/>
              <a:t>Service overview and Status Quo </a:t>
            </a:r>
          </a:p>
          <a:p>
            <a:r>
              <a:rPr lang="en-US"/>
              <a:t>High Level Service Architecture</a:t>
            </a:r>
          </a:p>
          <a:p>
            <a:r>
              <a:rPr lang="en-US"/>
              <a:t>Q&amp;A</a:t>
            </a:r>
          </a:p>
          <a:p>
            <a:endParaRPr lang="en-US"/>
          </a:p>
        </p:txBody>
      </p:sp>
      <p:sp>
        <p:nvSpPr>
          <p:cNvPr id="4" name="Title 3">
            <a:extLst>
              <a:ext uri="{FF2B5EF4-FFF2-40B4-BE49-F238E27FC236}">
                <a16:creationId xmlns:a16="http://schemas.microsoft.com/office/drawing/2014/main" id="{18028E31-974E-D132-6D4E-2E71F837E740}"/>
              </a:ext>
            </a:extLst>
          </p:cNvPr>
          <p:cNvSpPr>
            <a:spLocks noGrp="1"/>
          </p:cNvSpPr>
          <p:nvPr>
            <p:ph type="title"/>
          </p:nvPr>
        </p:nvSpPr>
        <p:spPr/>
        <p:txBody>
          <a:bodyPr/>
          <a:lstStyle/>
          <a:p>
            <a:r>
              <a:rPr lang="en-US"/>
              <a:t>Agenda</a:t>
            </a:r>
          </a:p>
        </p:txBody>
      </p:sp>
    </p:spTree>
    <p:extLst>
      <p:ext uri="{BB962C8B-B14F-4D97-AF65-F5344CB8AC3E}">
        <p14:creationId xmlns:p14="http://schemas.microsoft.com/office/powerpoint/2010/main" val="15490710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7F06934-59C2-6978-0D40-14C7A42998FA}"/>
              </a:ext>
            </a:extLst>
          </p:cNvPr>
          <p:cNvSpPr>
            <a:spLocks noGrp="1"/>
          </p:cNvSpPr>
          <p:nvPr>
            <p:ph type="title"/>
          </p:nvPr>
        </p:nvSpPr>
        <p:spPr/>
        <p:txBody>
          <a:bodyPr/>
          <a:lstStyle/>
          <a:p>
            <a:r>
              <a:rPr lang="en-IL"/>
              <a:t>CDN (Edge Computing)</a:t>
            </a:r>
          </a:p>
        </p:txBody>
      </p:sp>
      <p:pic>
        <p:nvPicPr>
          <p:cNvPr id="1026" name="Picture 2">
            <a:extLst>
              <a:ext uri="{FF2B5EF4-FFF2-40B4-BE49-F238E27FC236}">
                <a16:creationId xmlns:a16="http://schemas.microsoft.com/office/drawing/2014/main" id="{B942C93B-630A-2267-CEEA-822B2F84079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54237" y="1769292"/>
            <a:ext cx="7886700" cy="44704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2">
            <a:extLst>
              <a:ext uri="{FF2B5EF4-FFF2-40B4-BE49-F238E27FC236}">
                <a16:creationId xmlns:a16="http://schemas.microsoft.com/office/drawing/2014/main" id="{0F946EC2-2D20-F954-F8B1-936D8FFF35C2}"/>
              </a:ext>
            </a:extLst>
          </p:cNvPr>
          <p:cNvSpPr txBox="1">
            <a:spLocks/>
          </p:cNvSpPr>
          <p:nvPr/>
        </p:nvSpPr>
        <p:spPr bwMode="black">
          <a:xfrm rot="1507048">
            <a:off x="10662376" y="470516"/>
            <a:ext cx="1168999" cy="246221"/>
          </a:xfrm>
          <a:prstGeom prst="rect">
            <a:avLst/>
          </a:prstGeom>
        </p:spPr>
        <p:style>
          <a:lnRef idx="1">
            <a:schemeClr val="accent5"/>
          </a:lnRef>
          <a:fillRef idx="3">
            <a:schemeClr val="accent5"/>
          </a:fillRef>
          <a:effectRef idx="2">
            <a:schemeClr val="accent5"/>
          </a:effectRef>
          <a:fontRef idx="minor">
            <a:schemeClr val="lt1"/>
          </a:fontRef>
        </p:style>
        <p:txBody>
          <a:bodyPr vert="horz" wrap="square" lIns="0" tIns="0" rIns="0" bIns="0" rtlCol="0" anchor="ctr"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algn="ctr"/>
            <a:r>
              <a:rPr lang="en-IL" sz="1600" b="0"/>
              <a:t>Planned</a:t>
            </a:r>
          </a:p>
        </p:txBody>
      </p:sp>
    </p:spTree>
    <p:extLst>
      <p:ext uri="{BB962C8B-B14F-4D97-AF65-F5344CB8AC3E}">
        <p14:creationId xmlns:p14="http://schemas.microsoft.com/office/powerpoint/2010/main" val="13903428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F39D62-4433-DADC-7C72-64E62D3C88F4}"/>
              </a:ext>
            </a:extLst>
          </p:cNvPr>
          <p:cNvSpPr>
            <a:spLocks noGrp="1"/>
          </p:cNvSpPr>
          <p:nvPr>
            <p:ph type="ctrTitle"/>
          </p:nvPr>
        </p:nvSpPr>
        <p:spPr/>
        <p:txBody>
          <a:bodyPr/>
          <a:lstStyle/>
          <a:p>
            <a:r>
              <a:rPr lang="en-US"/>
              <a:t>AI Gateway in Envoy Gateway</a:t>
            </a:r>
          </a:p>
        </p:txBody>
      </p:sp>
    </p:spTree>
    <p:extLst>
      <p:ext uri="{BB962C8B-B14F-4D97-AF65-F5344CB8AC3E}">
        <p14:creationId xmlns:p14="http://schemas.microsoft.com/office/powerpoint/2010/main" val="9091515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5D7EB67-69AD-E904-6219-3249B8057A35}"/>
              </a:ext>
            </a:extLst>
          </p:cNvPr>
          <p:cNvSpPr>
            <a:spLocks noGrp="1"/>
          </p:cNvSpPr>
          <p:nvPr>
            <p:ph type="body" sz="quarter" idx="10"/>
          </p:nvPr>
        </p:nvSpPr>
        <p:spPr/>
        <p:txBody>
          <a:bodyPr/>
          <a:lstStyle/>
          <a:p>
            <a:r>
              <a:rPr lang="en-US" sz="1800">
                <a:solidFill>
                  <a:srgbClr val="000000"/>
                </a:solidFill>
                <a:latin typeface="Aptos" panose="020B0004020202020204" pitchFamily="34" charset="0"/>
                <a:ea typeface="Aptos" panose="020B0004020202020204" pitchFamily="34" charset="0"/>
                <a:cs typeface="Aptos" panose="020B0004020202020204" pitchFamily="34" charset="0"/>
              </a:rPr>
              <a:t>Potential n</a:t>
            </a:r>
            <a:r>
              <a:rPr lang="en-US" sz="1800">
                <a:solidFill>
                  <a:srgbClr val="000000"/>
                </a:solidFill>
                <a:effectLst/>
                <a:latin typeface="Aptos" panose="020B0004020202020204" pitchFamily="34" charset="0"/>
                <a:ea typeface="Aptos" panose="020B0004020202020204" pitchFamily="34" charset="0"/>
                <a:cs typeface="Aptos" panose="020B0004020202020204" pitchFamily="34" charset="0"/>
              </a:rPr>
              <a:t>ew opportunities leveraging AI Gateway's advanced capabilities within UGW:</a:t>
            </a:r>
            <a:endParaRPr lang="en-IL" sz="1800">
              <a:effectLst/>
              <a:latin typeface="Aptos" panose="020B0004020202020204" pitchFamily="34" charset="0"/>
              <a:ea typeface="Aptos" panose="020B0004020202020204" pitchFamily="34" charset="0"/>
              <a:cs typeface="Aptos" panose="020B0004020202020204" pitchFamily="34" charset="0"/>
            </a:endParaRPr>
          </a:p>
          <a:p>
            <a:pPr marL="342900" lvl="0" indent="-342900">
              <a:spcBef>
                <a:spcPts val="600"/>
              </a:spcBef>
              <a:buFont typeface="Symbol" panose="05050102010706020507" pitchFamily="18" charset="2"/>
              <a:buChar char=""/>
            </a:pPr>
            <a:r>
              <a:rPr lang="en-US" sz="1800">
                <a:effectLst/>
                <a:latin typeface="Aptos" panose="020B0004020202020204" pitchFamily="34" charset="0"/>
                <a:ea typeface="Times New Roman" panose="02020603050405020304" pitchFamily="18" charset="0"/>
                <a:cs typeface="Aptos" panose="020B0004020202020204" pitchFamily="34" charset="0"/>
              </a:rPr>
              <a:t>Guardrails for both requests (prompts) and responses, focusing on sensitive and legal aspects</a:t>
            </a:r>
            <a:endParaRPr lang="en-IL" sz="1800">
              <a:effectLst/>
              <a:latin typeface="Aptos" panose="020B0004020202020204" pitchFamily="34" charset="0"/>
              <a:ea typeface="Aptos" panose="020B0004020202020204" pitchFamily="34" charset="0"/>
              <a:cs typeface="Aptos" panose="020B0004020202020204" pitchFamily="34" charset="0"/>
            </a:endParaRPr>
          </a:p>
          <a:p>
            <a:pPr marL="342900" lvl="0" indent="-342900">
              <a:spcBef>
                <a:spcPts val="600"/>
              </a:spcBef>
              <a:buFont typeface="Symbol" panose="05050102010706020507" pitchFamily="18" charset="2"/>
              <a:buChar char=""/>
            </a:pPr>
            <a:r>
              <a:rPr lang="en-US" sz="1800">
                <a:effectLst/>
                <a:latin typeface="Aptos" panose="020B0004020202020204" pitchFamily="34" charset="0"/>
                <a:ea typeface="Times New Roman" panose="02020603050405020304" pitchFamily="18" charset="0"/>
                <a:cs typeface="Aptos" panose="020B0004020202020204" pitchFamily="34" charset="0"/>
              </a:rPr>
              <a:t>LLM-token-based rate limiting (request and response)</a:t>
            </a:r>
          </a:p>
          <a:p>
            <a:pPr marL="342900" lvl="0" indent="-342900">
              <a:spcBef>
                <a:spcPts val="600"/>
              </a:spcBef>
              <a:buFont typeface="Symbol" panose="05050102010706020507" pitchFamily="18" charset="2"/>
              <a:buChar char=""/>
            </a:pPr>
            <a:r>
              <a:rPr lang="en-US" sz="1800">
                <a:latin typeface="Aptos" panose="020B0004020202020204" pitchFamily="34" charset="0"/>
                <a:ea typeface="Aptos" panose="020B0004020202020204" pitchFamily="34" charset="0"/>
                <a:cs typeface="Aptos" panose="020B0004020202020204" pitchFamily="34" charset="0"/>
              </a:rPr>
              <a:t>Metrics and observability</a:t>
            </a:r>
            <a:endParaRPr lang="en-IL" sz="1800">
              <a:effectLst/>
              <a:latin typeface="Aptos" panose="020B0004020202020204" pitchFamily="34" charset="0"/>
              <a:ea typeface="Aptos" panose="020B0004020202020204" pitchFamily="34" charset="0"/>
              <a:cs typeface="Aptos" panose="020B0004020202020204" pitchFamily="34" charset="0"/>
            </a:endParaRPr>
          </a:p>
          <a:p>
            <a:pPr marL="342900" lvl="0" indent="-342900">
              <a:spcBef>
                <a:spcPts val="600"/>
              </a:spcBef>
              <a:buFont typeface="Symbol" panose="05050102010706020507" pitchFamily="18" charset="2"/>
              <a:buChar char=""/>
            </a:pPr>
            <a:r>
              <a:rPr lang="en-US" sz="1800">
                <a:effectLst/>
                <a:latin typeface="Aptos" panose="020B0004020202020204" pitchFamily="34" charset="0"/>
                <a:ea typeface="Times New Roman" panose="02020603050405020304" pitchFamily="18" charset="0"/>
                <a:cs typeface="Aptos" panose="020B0004020202020204" pitchFamily="34" charset="0"/>
              </a:rPr>
              <a:t>Prompt cost optimization</a:t>
            </a:r>
            <a:endParaRPr lang="en-IL" sz="1800">
              <a:effectLst/>
              <a:latin typeface="Aptos" panose="020B0004020202020204" pitchFamily="34" charset="0"/>
              <a:ea typeface="Aptos" panose="020B0004020202020204" pitchFamily="34" charset="0"/>
              <a:cs typeface="Aptos" panose="020B0004020202020204" pitchFamily="34" charset="0"/>
            </a:endParaRPr>
          </a:p>
          <a:p>
            <a:pPr marL="342900" lvl="0" indent="-342900">
              <a:spcBef>
                <a:spcPts val="600"/>
              </a:spcBef>
              <a:buFont typeface="Symbol" panose="05050102010706020507" pitchFamily="18" charset="2"/>
              <a:buChar char=""/>
            </a:pPr>
            <a:r>
              <a:rPr lang="en-US" sz="1800">
                <a:effectLst/>
                <a:latin typeface="Aptos" panose="020B0004020202020204" pitchFamily="34" charset="0"/>
                <a:ea typeface="Times New Roman" panose="02020603050405020304" pitchFamily="18" charset="0"/>
                <a:cs typeface="Aptos" panose="020B0004020202020204" pitchFamily="34" charset="0"/>
              </a:rPr>
              <a:t>Prompt enhancement</a:t>
            </a:r>
            <a:endParaRPr lang="en-IL" sz="1800">
              <a:effectLst/>
              <a:latin typeface="Aptos" panose="020B0004020202020204" pitchFamily="34" charset="0"/>
              <a:ea typeface="Aptos" panose="020B0004020202020204" pitchFamily="34" charset="0"/>
              <a:cs typeface="Aptos" panose="020B0004020202020204" pitchFamily="34" charset="0"/>
            </a:endParaRPr>
          </a:p>
          <a:p>
            <a:pPr marL="342900" lvl="0" indent="-342900">
              <a:spcBef>
                <a:spcPts val="600"/>
              </a:spcBef>
              <a:buFont typeface="Symbol" panose="05050102010706020507" pitchFamily="18" charset="2"/>
              <a:buChar char=""/>
            </a:pPr>
            <a:r>
              <a:rPr lang="en-IL" sz="1800">
                <a:solidFill>
                  <a:srgbClr val="000000"/>
                </a:solidFill>
                <a:effectLst/>
                <a:latin typeface="Aptos" panose="020B0004020202020204" pitchFamily="34" charset="0"/>
                <a:ea typeface="Times New Roman" panose="02020603050405020304" pitchFamily="18" charset="0"/>
                <a:cs typeface="Aptos" panose="020B0004020202020204" pitchFamily="34" charset="0"/>
              </a:rPr>
              <a:t>Interpretation and contextual adaptation of MCP and A2A protocols.</a:t>
            </a:r>
            <a:endParaRPr lang="en-IL" sz="1800">
              <a:solidFill>
                <a:srgbClr val="000000"/>
              </a:solidFill>
              <a:effectLst/>
              <a:latin typeface="Aptos" panose="020B0004020202020204" pitchFamily="34" charset="0"/>
              <a:ea typeface="Aptos" panose="020B0004020202020204" pitchFamily="34" charset="0"/>
              <a:cs typeface="Aptos" panose="020B0004020202020204" pitchFamily="34" charset="0"/>
            </a:endParaRPr>
          </a:p>
          <a:p>
            <a:endParaRPr lang="en-US" sz="1400" b="1" u="sng"/>
          </a:p>
          <a:p>
            <a:r>
              <a:rPr lang="en-US" sz="1400" b="1" u="sng"/>
              <a:t>Community and reference:</a:t>
            </a:r>
          </a:p>
          <a:p>
            <a:r>
              <a:rPr lang="en-US" sz="1400"/>
              <a:t>Envoy Gateway Community: </a:t>
            </a:r>
            <a:r>
              <a:rPr lang="pl-PL" sz="1400">
                <a:hlinkClick r:id="rId2"/>
              </a:rPr>
              <a:t>Capabilities | Envoy AI Gateway</a:t>
            </a:r>
            <a:endParaRPr lang="en-US" sz="1400"/>
          </a:p>
          <a:p>
            <a:r>
              <a:rPr lang="en-US" sz="1400"/>
              <a:t>Envoy Plans to support MCP </a:t>
            </a:r>
            <a:r>
              <a:rPr lang="en-US" sz="1400">
                <a:hlinkClick r:id="rId3"/>
              </a:rPr>
              <a:t>Proposal: Envoy Support for Model Context Protocol (MCP)</a:t>
            </a:r>
            <a:endParaRPr lang="en-IL" sz="1400"/>
          </a:p>
        </p:txBody>
      </p:sp>
      <p:sp>
        <p:nvSpPr>
          <p:cNvPr id="3" name="Title 2">
            <a:extLst>
              <a:ext uri="{FF2B5EF4-FFF2-40B4-BE49-F238E27FC236}">
                <a16:creationId xmlns:a16="http://schemas.microsoft.com/office/drawing/2014/main" id="{EA693BC7-1759-70D4-234C-27A75DE50DB8}"/>
              </a:ext>
            </a:extLst>
          </p:cNvPr>
          <p:cNvSpPr>
            <a:spLocks noGrp="1"/>
          </p:cNvSpPr>
          <p:nvPr>
            <p:ph type="title"/>
          </p:nvPr>
        </p:nvSpPr>
        <p:spPr/>
        <p:txBody>
          <a:bodyPr/>
          <a:lstStyle/>
          <a:p>
            <a:r>
              <a:rPr lang="en-US"/>
              <a:t>AI Gateway – References</a:t>
            </a:r>
            <a:endParaRPr lang="en-IL"/>
          </a:p>
        </p:txBody>
      </p:sp>
    </p:spTree>
    <p:extLst>
      <p:ext uri="{BB962C8B-B14F-4D97-AF65-F5344CB8AC3E}">
        <p14:creationId xmlns:p14="http://schemas.microsoft.com/office/powerpoint/2010/main" val="20744093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F39D62-4433-DADC-7C72-64E62D3C88F4}"/>
              </a:ext>
            </a:extLst>
          </p:cNvPr>
          <p:cNvSpPr>
            <a:spLocks noGrp="1"/>
          </p:cNvSpPr>
          <p:nvPr>
            <p:ph type="ctrTitle"/>
          </p:nvPr>
        </p:nvSpPr>
        <p:spPr/>
        <p:txBody>
          <a:bodyPr/>
          <a:lstStyle/>
          <a:p>
            <a:r>
              <a:rPr lang="en-US"/>
              <a:t>Unified Gateway</a:t>
            </a:r>
            <a:br>
              <a:rPr lang="en-US"/>
            </a:br>
            <a:r>
              <a:rPr lang="en-US">
                <a:solidFill>
                  <a:schemeClr val="accent1"/>
                </a:solidFill>
              </a:rPr>
              <a:t>Onboarding kit</a:t>
            </a:r>
            <a:endParaRPr lang="en-US"/>
          </a:p>
        </p:txBody>
      </p:sp>
    </p:spTree>
    <p:extLst>
      <p:ext uri="{BB962C8B-B14F-4D97-AF65-F5344CB8AC3E}">
        <p14:creationId xmlns:p14="http://schemas.microsoft.com/office/powerpoint/2010/main" val="21465715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9E5052B-17C0-F81A-9A81-60AB49AABC1B}"/>
              </a:ext>
            </a:extLst>
          </p:cNvPr>
          <p:cNvSpPr>
            <a:spLocks noGrp="1"/>
          </p:cNvSpPr>
          <p:nvPr>
            <p:ph type="body" sz="quarter" idx="10"/>
          </p:nvPr>
        </p:nvSpPr>
        <p:spPr>
          <a:xfrm>
            <a:off x="503999" y="1620000"/>
            <a:ext cx="7280615" cy="4716000"/>
          </a:xfrm>
        </p:spPr>
        <p:txBody>
          <a:bodyPr>
            <a:normAutofit/>
          </a:bodyPr>
          <a:lstStyle/>
          <a:p>
            <a:pPr marL="179874" lvl="1" indent="-179874" defTabSz="1088013">
              <a:spcBef>
                <a:spcPts val="1200"/>
              </a:spcBef>
              <a:buClr>
                <a:srgbClr val="F0AB00"/>
              </a:buClr>
              <a:defRPr/>
            </a:pPr>
            <a:r>
              <a:rPr lang="en-US" sz="1600">
                <a:solidFill>
                  <a:sysClr val="windowText" lastClr="000000"/>
                </a:solidFill>
              </a:rPr>
              <a:t>UGW is part of the Unified Services offering, leveraging it to provide a standard, modern interface for other services to provision and consume UGW.</a:t>
            </a:r>
            <a:endParaRPr lang="he-IL" sz="1600">
              <a:solidFill>
                <a:sysClr val="windowText" lastClr="000000"/>
              </a:solidFill>
            </a:endParaRPr>
          </a:p>
          <a:p>
            <a:pPr marL="179874" lvl="1" indent="-179874" defTabSz="1088013">
              <a:spcBef>
                <a:spcPts val="1200"/>
              </a:spcBef>
              <a:buClr>
                <a:srgbClr val="F0AB00"/>
              </a:buClr>
              <a:defRPr/>
            </a:pPr>
            <a:r>
              <a:rPr lang="en-US" sz="1600">
                <a:solidFill>
                  <a:srgbClr val="222222"/>
                </a:solidFill>
              </a:rPr>
              <a:t>The interface is declarative, and can be used </a:t>
            </a:r>
            <a:r>
              <a:rPr lang="en-US" sz="1600"/>
              <a:t>via a </a:t>
            </a:r>
            <a:r>
              <a:rPr lang="en-US" sz="1600">
                <a:hlinkClick r:id="rId2"/>
              </a:rPr>
              <a:t>CLI</a:t>
            </a:r>
            <a:r>
              <a:rPr lang="en-US" sz="1600"/>
              <a:t>, </a:t>
            </a:r>
            <a:r>
              <a:rPr lang="en-US" sz="1600" b="0" i="0">
                <a:solidFill>
                  <a:srgbClr val="343A40"/>
                </a:solidFill>
                <a:effectLst/>
                <a:hlinkClick r:id="rId3"/>
              </a:rPr>
              <a:t>HTTP-based RESTful APIs</a:t>
            </a:r>
            <a:r>
              <a:rPr lang="en-US" sz="1600" b="0" i="0">
                <a:solidFill>
                  <a:srgbClr val="343A40"/>
                </a:solidFill>
                <a:effectLst/>
              </a:rPr>
              <a:t> and</a:t>
            </a:r>
            <a:r>
              <a:rPr lang="en-US" sz="1600"/>
              <a:t> a </a:t>
            </a:r>
            <a:r>
              <a:rPr lang="en-US" sz="1600">
                <a:hlinkClick r:id="rId4"/>
              </a:rPr>
              <a:t>Graphical Interface</a:t>
            </a:r>
            <a:r>
              <a:rPr lang="en-US" sz="1600"/>
              <a:t>, allowing to fit into the </a:t>
            </a:r>
            <a:r>
              <a:rPr lang="en-US" sz="1600" err="1"/>
              <a:t>LoB</a:t>
            </a:r>
            <a:r>
              <a:rPr lang="en-US" sz="1600"/>
              <a:t> pipelines and DevOps existing processes (e.g. </a:t>
            </a:r>
            <a:r>
              <a:rPr lang="en-US" sz="1600" err="1"/>
              <a:t>GitOps</a:t>
            </a:r>
            <a:r>
              <a:rPr lang="en-US" sz="1600"/>
              <a:t>)</a:t>
            </a:r>
            <a:endParaRPr lang="he-IL" sz="1600"/>
          </a:p>
          <a:p>
            <a:pPr marL="179874" lvl="1" indent="-179874" defTabSz="1088013">
              <a:spcBef>
                <a:spcPts val="1200"/>
              </a:spcBef>
              <a:buClr>
                <a:srgbClr val="F0AB00"/>
              </a:buClr>
              <a:defRPr/>
            </a:pPr>
            <a:r>
              <a:rPr lang="en-US" sz="1600"/>
              <a:t>The interface is modular and consists of several resources that represents the consumer’s desired state. </a:t>
            </a:r>
            <a:endParaRPr lang="he-IL" sz="1600"/>
          </a:p>
          <a:p>
            <a:pPr marL="179874" lvl="1" indent="-179874" defTabSz="1088013">
              <a:spcBef>
                <a:spcPts val="1200"/>
              </a:spcBef>
              <a:buClr>
                <a:srgbClr val="F0AB00"/>
              </a:buClr>
              <a:defRPr/>
            </a:pPr>
            <a:r>
              <a:rPr lang="en-US" sz="1600"/>
              <a:t>Each resource (or set of resources) enables to configured a certain gateway capability in an Opt-in patterns. </a:t>
            </a:r>
          </a:p>
        </p:txBody>
      </p:sp>
      <p:sp>
        <p:nvSpPr>
          <p:cNvPr id="4" name="Title 3">
            <a:extLst>
              <a:ext uri="{FF2B5EF4-FFF2-40B4-BE49-F238E27FC236}">
                <a16:creationId xmlns:a16="http://schemas.microsoft.com/office/drawing/2014/main" id="{AB8869BA-80F1-D083-8216-0DFFC0D331E0}"/>
              </a:ext>
            </a:extLst>
          </p:cNvPr>
          <p:cNvSpPr>
            <a:spLocks noGrp="1"/>
          </p:cNvSpPr>
          <p:nvPr>
            <p:ph type="title"/>
          </p:nvPr>
        </p:nvSpPr>
        <p:spPr>
          <a:xfrm>
            <a:off x="504001" y="504000"/>
            <a:ext cx="11583496" cy="369332"/>
          </a:xfrm>
        </p:spPr>
        <p:txBody>
          <a:bodyPr/>
          <a:lstStyle/>
          <a:p>
            <a:r>
              <a:rPr lang="en-US"/>
              <a:t>Unified Gateway Configuration</a:t>
            </a:r>
          </a:p>
        </p:txBody>
      </p:sp>
      <p:pic>
        <p:nvPicPr>
          <p:cNvPr id="38" name="Picture 37">
            <a:extLst>
              <a:ext uri="{FF2B5EF4-FFF2-40B4-BE49-F238E27FC236}">
                <a16:creationId xmlns:a16="http://schemas.microsoft.com/office/drawing/2014/main" id="{83C4DCCC-4550-808A-8E57-529A989F209F}"/>
              </a:ext>
            </a:extLst>
          </p:cNvPr>
          <p:cNvPicPr>
            <a:picLocks noChangeAspect="1"/>
          </p:cNvPicPr>
          <p:nvPr/>
        </p:nvPicPr>
        <p:blipFill>
          <a:blip r:embed="rId5"/>
          <a:stretch>
            <a:fillRect/>
          </a:stretch>
        </p:blipFill>
        <p:spPr>
          <a:xfrm>
            <a:off x="8180937" y="1458107"/>
            <a:ext cx="3510237" cy="4716000"/>
          </a:xfrm>
          <a:prstGeom prst="rect">
            <a:avLst/>
          </a:prstGeom>
        </p:spPr>
      </p:pic>
    </p:spTree>
    <p:extLst>
      <p:ext uri="{BB962C8B-B14F-4D97-AF65-F5344CB8AC3E}">
        <p14:creationId xmlns:p14="http://schemas.microsoft.com/office/powerpoint/2010/main" val="15865405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61" name="Callout: Bent Line with Accent Bar 360">
            <a:extLst>
              <a:ext uri="{FF2B5EF4-FFF2-40B4-BE49-F238E27FC236}">
                <a16:creationId xmlns:a16="http://schemas.microsoft.com/office/drawing/2014/main" id="{184A0D75-6851-4CB5-A170-A1A78DCB1F87}"/>
              </a:ext>
            </a:extLst>
          </p:cNvPr>
          <p:cNvSpPr/>
          <p:nvPr/>
        </p:nvSpPr>
        <p:spPr bwMode="gray">
          <a:xfrm>
            <a:off x="4029416" y="1509250"/>
            <a:ext cx="2183755" cy="914400"/>
          </a:xfrm>
          <a:prstGeom prst="accentCallout2">
            <a:avLst>
              <a:gd name="adj1" fmla="val 18750"/>
              <a:gd name="adj2" fmla="val -8333"/>
              <a:gd name="adj3" fmla="val 18750"/>
              <a:gd name="adj4" fmla="val -16667"/>
              <a:gd name="adj5" fmla="val 68825"/>
              <a:gd name="adj6" fmla="val -51678"/>
            </a:avLst>
          </a:prstGeom>
          <a:ln>
            <a:solidFill>
              <a:srgbClr val="2F528F"/>
            </a:solidFill>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t" anchorCtr="0"/>
          <a:lstStyle/>
          <a:p>
            <a:pPr defTabSz="914400" fontAlgn="base">
              <a:spcBef>
                <a:spcPct val="50000"/>
              </a:spcBef>
              <a:spcAft>
                <a:spcPct val="0"/>
              </a:spcAft>
              <a:buClr>
                <a:srgbClr val="F0AB00"/>
              </a:buClr>
              <a:buSzPct val="80000"/>
              <a:defRPr/>
            </a:pPr>
            <a:r>
              <a:rPr lang="en-US" sz="1400" kern="0">
                <a:solidFill>
                  <a:srgbClr val="000000"/>
                </a:solidFill>
                <a:latin typeface="Arial"/>
                <a:ea typeface="Arial Unicode MS" pitchFamily="34" charset="-128"/>
                <a:cs typeface="Arial Unicode MS" pitchFamily="34" charset="-128"/>
              </a:rPr>
              <a:t>LoB/App info</a:t>
            </a:r>
          </a:p>
          <a:p>
            <a:pPr defTabSz="914400" fontAlgn="base">
              <a:spcBef>
                <a:spcPct val="50000"/>
              </a:spcBef>
              <a:spcAft>
                <a:spcPct val="0"/>
              </a:spcAft>
              <a:buClr>
                <a:srgbClr val="F0AB00"/>
              </a:buClr>
              <a:buSzPct val="80000"/>
              <a:defRPr/>
            </a:pPr>
            <a:r>
              <a:rPr lang="en-US" sz="1400" kern="0">
                <a:solidFill>
                  <a:srgbClr val="000000"/>
                </a:solidFill>
                <a:latin typeface="Arial"/>
                <a:ea typeface="Arial Unicode MS" pitchFamily="34" charset="-128"/>
                <a:cs typeface="Arial Unicode MS" pitchFamily="34" charset="-128"/>
              </a:rPr>
              <a:t>Env info</a:t>
            </a:r>
          </a:p>
          <a:p>
            <a:pPr defTabSz="914400" fontAlgn="base">
              <a:spcBef>
                <a:spcPct val="50000"/>
              </a:spcBef>
              <a:spcAft>
                <a:spcPct val="0"/>
              </a:spcAft>
              <a:buClr>
                <a:srgbClr val="F0AB00"/>
              </a:buClr>
              <a:buSzPct val="80000"/>
              <a:defRPr/>
            </a:pPr>
            <a:r>
              <a:rPr lang="en-US" sz="1400" kern="0">
                <a:solidFill>
                  <a:srgbClr val="000000"/>
                </a:solidFill>
                <a:latin typeface="Arial"/>
                <a:ea typeface="Arial Unicode MS" pitchFamily="34" charset="-128"/>
                <a:cs typeface="Arial Unicode MS" pitchFamily="34" charset="-128"/>
              </a:rPr>
              <a:t>Contacts</a:t>
            </a:r>
            <a:endParaRPr lang="en-IL" sz="1400" kern="0">
              <a:solidFill>
                <a:srgbClr val="000000"/>
              </a:solidFill>
              <a:latin typeface="Arial"/>
              <a:ea typeface="Arial Unicode MS" pitchFamily="34" charset="-128"/>
              <a:cs typeface="Arial Unicode MS" pitchFamily="34" charset="-128"/>
            </a:endParaRPr>
          </a:p>
        </p:txBody>
      </p:sp>
      <p:sp>
        <p:nvSpPr>
          <p:cNvPr id="3" name="Title 2">
            <a:extLst>
              <a:ext uri="{FF2B5EF4-FFF2-40B4-BE49-F238E27FC236}">
                <a16:creationId xmlns:a16="http://schemas.microsoft.com/office/drawing/2014/main" id="{ACC8BEBC-FC1D-4274-B4D1-9DCD28A3CE6B}"/>
              </a:ext>
            </a:extLst>
          </p:cNvPr>
          <p:cNvSpPr>
            <a:spLocks noGrp="1"/>
          </p:cNvSpPr>
          <p:nvPr>
            <p:ph type="title"/>
          </p:nvPr>
        </p:nvSpPr>
        <p:spPr>
          <a:xfrm>
            <a:off x="505457" y="504000"/>
            <a:ext cx="11183564" cy="369204"/>
          </a:xfrm>
        </p:spPr>
        <p:txBody>
          <a:bodyPr/>
          <a:lstStyle/>
          <a:p>
            <a:r>
              <a:rPr lang="en-US"/>
              <a:t>UGW Public Interface. Data Model (</a:t>
            </a:r>
            <a:r>
              <a:rPr lang="en-US" u="sng"/>
              <a:t>illustration only</a:t>
            </a:r>
            <a:r>
              <a:rPr lang="en-US"/>
              <a:t>)</a:t>
            </a:r>
            <a:endParaRPr lang="en-IL"/>
          </a:p>
        </p:txBody>
      </p:sp>
      <p:sp>
        <p:nvSpPr>
          <p:cNvPr id="4" name="Oval 3">
            <a:extLst>
              <a:ext uri="{FF2B5EF4-FFF2-40B4-BE49-F238E27FC236}">
                <a16:creationId xmlns:a16="http://schemas.microsoft.com/office/drawing/2014/main" id="{D92333FC-65F9-4246-9092-887C47854AC6}"/>
              </a:ext>
            </a:extLst>
          </p:cNvPr>
          <p:cNvSpPr/>
          <p:nvPr/>
        </p:nvSpPr>
        <p:spPr>
          <a:xfrm>
            <a:off x="1131569" y="2149678"/>
            <a:ext cx="1734545" cy="720000"/>
          </a:xfrm>
          <a:prstGeom prst="ellipse">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400">
              <a:defRPr/>
            </a:pPr>
            <a:r>
              <a:rPr lang="en-US" sz="1400" b="1">
                <a:solidFill>
                  <a:schemeClr val="tx1"/>
                </a:solidFill>
                <a:latin typeface="Arial"/>
              </a:rPr>
              <a:t>Gateway Registration</a:t>
            </a:r>
          </a:p>
        </p:txBody>
      </p:sp>
      <p:sp>
        <p:nvSpPr>
          <p:cNvPr id="233" name="Oval 232">
            <a:extLst>
              <a:ext uri="{FF2B5EF4-FFF2-40B4-BE49-F238E27FC236}">
                <a16:creationId xmlns:a16="http://schemas.microsoft.com/office/drawing/2014/main" id="{094A95A8-BED9-4619-AFA6-B683AB3AB6B8}"/>
              </a:ext>
            </a:extLst>
          </p:cNvPr>
          <p:cNvSpPr/>
          <p:nvPr/>
        </p:nvSpPr>
        <p:spPr>
          <a:xfrm>
            <a:off x="6697367" y="2051934"/>
            <a:ext cx="1908000" cy="720000"/>
          </a:xfrm>
          <a:prstGeom prst="ellipse">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400">
              <a:defRPr/>
            </a:pPr>
            <a:r>
              <a:rPr lang="en-US" sz="1400" b="1">
                <a:solidFill>
                  <a:schemeClr val="tx1"/>
                </a:solidFill>
                <a:latin typeface="Arial"/>
              </a:rPr>
              <a:t>Gateway Configuration</a:t>
            </a:r>
          </a:p>
        </p:txBody>
      </p:sp>
      <p:sp>
        <p:nvSpPr>
          <p:cNvPr id="234" name="Oval 233">
            <a:extLst>
              <a:ext uri="{FF2B5EF4-FFF2-40B4-BE49-F238E27FC236}">
                <a16:creationId xmlns:a16="http://schemas.microsoft.com/office/drawing/2014/main" id="{C4ABA5AA-A94D-4F78-9171-121542793C5A}"/>
              </a:ext>
            </a:extLst>
          </p:cNvPr>
          <p:cNvSpPr/>
          <p:nvPr/>
        </p:nvSpPr>
        <p:spPr>
          <a:xfrm>
            <a:off x="9231782" y="3011132"/>
            <a:ext cx="1800000" cy="720000"/>
          </a:xfrm>
          <a:prstGeom prst="ellipse">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lIns="0" rIns="0" rtlCol="0" anchor="ctr"/>
          <a:lstStyle/>
          <a:p>
            <a:pPr algn="ctr" defTabSz="914400">
              <a:defRPr/>
            </a:pPr>
            <a:r>
              <a:rPr lang="en-US" sz="1200" b="1">
                <a:solidFill>
                  <a:srgbClr val="000000"/>
                </a:solidFill>
                <a:latin typeface="Arial"/>
              </a:rPr>
              <a:t>Routes</a:t>
            </a:r>
            <a:br>
              <a:rPr lang="en-US" sz="1200" b="1">
                <a:solidFill>
                  <a:srgbClr val="000000"/>
                </a:solidFill>
                <a:latin typeface="Arial"/>
              </a:rPr>
            </a:br>
            <a:r>
              <a:rPr lang="en-US" sz="900" b="1">
                <a:solidFill>
                  <a:srgbClr val="000000"/>
                </a:solidFill>
                <a:latin typeface="Arial"/>
              </a:rPr>
              <a:t>(&amp; its configuration)</a:t>
            </a:r>
            <a:endParaRPr lang="en-US" sz="1000" b="1">
              <a:solidFill>
                <a:srgbClr val="000000"/>
              </a:solidFill>
              <a:latin typeface="Arial"/>
            </a:endParaRPr>
          </a:p>
        </p:txBody>
      </p:sp>
      <p:sp>
        <p:nvSpPr>
          <p:cNvPr id="235" name="Oval 234">
            <a:extLst>
              <a:ext uri="{FF2B5EF4-FFF2-40B4-BE49-F238E27FC236}">
                <a16:creationId xmlns:a16="http://schemas.microsoft.com/office/drawing/2014/main" id="{BCF6B751-A561-4E62-981E-F825806E8738}"/>
              </a:ext>
            </a:extLst>
          </p:cNvPr>
          <p:cNvSpPr/>
          <p:nvPr/>
        </p:nvSpPr>
        <p:spPr>
          <a:xfrm>
            <a:off x="10761681" y="4492677"/>
            <a:ext cx="1368000" cy="720000"/>
          </a:xfrm>
          <a:prstGeom prst="ellipse">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400"/>
            <a:r>
              <a:rPr lang="en-US" sz="1200" b="1">
                <a:solidFill>
                  <a:srgbClr val="000000"/>
                </a:solidFill>
                <a:latin typeface="Arial"/>
              </a:rPr>
              <a:t>Rate Limiting rule</a:t>
            </a:r>
          </a:p>
        </p:txBody>
      </p:sp>
      <p:sp>
        <p:nvSpPr>
          <p:cNvPr id="236" name="Oval 235">
            <a:extLst>
              <a:ext uri="{FF2B5EF4-FFF2-40B4-BE49-F238E27FC236}">
                <a16:creationId xmlns:a16="http://schemas.microsoft.com/office/drawing/2014/main" id="{0747538D-BCEF-4C83-807B-A459F4DD6C32}"/>
              </a:ext>
            </a:extLst>
          </p:cNvPr>
          <p:cNvSpPr/>
          <p:nvPr/>
        </p:nvSpPr>
        <p:spPr>
          <a:xfrm>
            <a:off x="6751367" y="3402231"/>
            <a:ext cx="1800000" cy="720000"/>
          </a:xfrm>
          <a:prstGeom prst="ellipse">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400">
              <a:defRPr/>
            </a:pPr>
            <a:r>
              <a:rPr lang="en-US" sz="1200" b="1">
                <a:solidFill>
                  <a:srgbClr val="000000"/>
                </a:solidFill>
                <a:latin typeface="Arial"/>
              </a:rPr>
              <a:t>API Insights Logging</a:t>
            </a:r>
          </a:p>
        </p:txBody>
      </p:sp>
      <p:sp>
        <p:nvSpPr>
          <p:cNvPr id="238" name="Oval 237">
            <a:extLst>
              <a:ext uri="{FF2B5EF4-FFF2-40B4-BE49-F238E27FC236}">
                <a16:creationId xmlns:a16="http://schemas.microsoft.com/office/drawing/2014/main" id="{1F5C7C75-6295-4CAB-986E-5184D16D9720}"/>
              </a:ext>
            </a:extLst>
          </p:cNvPr>
          <p:cNvSpPr/>
          <p:nvPr/>
        </p:nvSpPr>
        <p:spPr>
          <a:xfrm>
            <a:off x="6751367" y="5607168"/>
            <a:ext cx="1800000" cy="720000"/>
          </a:xfrm>
          <a:prstGeom prst="ellipse">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400">
              <a:defRPr/>
            </a:pPr>
            <a:r>
              <a:rPr lang="en-US" sz="1200" b="1">
                <a:solidFill>
                  <a:srgbClr val="000000"/>
                </a:solidFill>
                <a:latin typeface="Arial"/>
              </a:rPr>
              <a:t>Token (URM secret)</a:t>
            </a:r>
          </a:p>
        </p:txBody>
      </p:sp>
      <p:cxnSp>
        <p:nvCxnSpPr>
          <p:cNvPr id="240" name="Straight Arrow Connector 239">
            <a:extLst>
              <a:ext uri="{FF2B5EF4-FFF2-40B4-BE49-F238E27FC236}">
                <a16:creationId xmlns:a16="http://schemas.microsoft.com/office/drawing/2014/main" id="{AC9265FD-9FC2-43B9-858B-B57B42DE6A86}"/>
              </a:ext>
            </a:extLst>
          </p:cNvPr>
          <p:cNvCxnSpPr>
            <a:cxnSpLocks/>
            <a:stCxn id="233" idx="6"/>
            <a:endCxn id="234" idx="0"/>
          </p:cNvCxnSpPr>
          <p:nvPr/>
        </p:nvCxnSpPr>
        <p:spPr>
          <a:xfrm>
            <a:off x="8605367" y="2411934"/>
            <a:ext cx="1526415" cy="599198"/>
          </a:xfrm>
          <a:prstGeom prst="straightConnector1">
            <a:avLst/>
          </a:prstGeom>
          <a:ln>
            <a:solidFill>
              <a:srgbClr val="2F528F"/>
            </a:solidFill>
            <a:headEnd type="none" w="med" len="med"/>
            <a:tailEnd type="triangle"/>
          </a:ln>
        </p:spPr>
        <p:style>
          <a:lnRef idx="2">
            <a:schemeClr val="accent1"/>
          </a:lnRef>
          <a:fillRef idx="0">
            <a:schemeClr val="accent1"/>
          </a:fillRef>
          <a:effectRef idx="1">
            <a:schemeClr val="accent1"/>
          </a:effectRef>
          <a:fontRef idx="minor">
            <a:schemeClr val="tx1"/>
          </a:fontRef>
        </p:style>
      </p:cxnSp>
      <p:cxnSp>
        <p:nvCxnSpPr>
          <p:cNvPr id="241" name="Straight Arrow Connector 240">
            <a:extLst>
              <a:ext uri="{FF2B5EF4-FFF2-40B4-BE49-F238E27FC236}">
                <a16:creationId xmlns:a16="http://schemas.microsoft.com/office/drawing/2014/main" id="{C39B1CA2-3ACA-495D-8FB8-1DB06A17242E}"/>
              </a:ext>
            </a:extLst>
          </p:cNvPr>
          <p:cNvCxnSpPr>
            <a:cxnSpLocks/>
            <a:stCxn id="233" idx="4"/>
            <a:endCxn id="236" idx="0"/>
          </p:cNvCxnSpPr>
          <p:nvPr/>
        </p:nvCxnSpPr>
        <p:spPr>
          <a:xfrm>
            <a:off x="7651367" y="2771934"/>
            <a:ext cx="0" cy="630297"/>
          </a:xfrm>
          <a:prstGeom prst="straightConnector1">
            <a:avLst/>
          </a:prstGeom>
          <a:ln>
            <a:solidFill>
              <a:srgbClr val="2F528F"/>
            </a:solidFill>
            <a:headEnd type="none" w="med" len="med"/>
            <a:tailEnd type="triangle"/>
          </a:ln>
        </p:spPr>
        <p:style>
          <a:lnRef idx="2">
            <a:schemeClr val="accent1"/>
          </a:lnRef>
          <a:fillRef idx="0">
            <a:schemeClr val="accent1"/>
          </a:fillRef>
          <a:effectRef idx="1">
            <a:schemeClr val="accent1"/>
          </a:effectRef>
          <a:fontRef idx="minor">
            <a:schemeClr val="tx1"/>
          </a:fontRef>
        </p:style>
      </p:cxnSp>
      <p:cxnSp>
        <p:nvCxnSpPr>
          <p:cNvPr id="242" name="Straight Arrow Connector 241">
            <a:extLst>
              <a:ext uri="{FF2B5EF4-FFF2-40B4-BE49-F238E27FC236}">
                <a16:creationId xmlns:a16="http://schemas.microsoft.com/office/drawing/2014/main" id="{F2A3B803-269F-4A5B-BF5A-710DE15997F9}"/>
              </a:ext>
            </a:extLst>
          </p:cNvPr>
          <p:cNvCxnSpPr>
            <a:cxnSpLocks/>
            <a:stCxn id="233" idx="2"/>
            <a:endCxn id="255" idx="0"/>
          </p:cNvCxnSpPr>
          <p:nvPr/>
        </p:nvCxnSpPr>
        <p:spPr>
          <a:xfrm flipH="1">
            <a:off x="5340330" y="2411934"/>
            <a:ext cx="1357037" cy="896837"/>
          </a:xfrm>
          <a:prstGeom prst="straightConnector1">
            <a:avLst/>
          </a:prstGeom>
          <a:ln>
            <a:solidFill>
              <a:srgbClr val="2F528F"/>
            </a:solidFill>
            <a:headEnd type="none" w="med" len="med"/>
            <a:tailEnd type="triangle"/>
          </a:ln>
        </p:spPr>
        <p:style>
          <a:lnRef idx="2">
            <a:schemeClr val="accent1"/>
          </a:lnRef>
          <a:fillRef idx="0">
            <a:schemeClr val="accent1"/>
          </a:fillRef>
          <a:effectRef idx="1">
            <a:schemeClr val="accent1"/>
          </a:effectRef>
          <a:fontRef idx="minor">
            <a:schemeClr val="tx1"/>
          </a:fontRef>
        </p:style>
      </p:cxnSp>
      <p:cxnSp>
        <p:nvCxnSpPr>
          <p:cNvPr id="243" name="Straight Arrow Connector 242">
            <a:extLst>
              <a:ext uri="{FF2B5EF4-FFF2-40B4-BE49-F238E27FC236}">
                <a16:creationId xmlns:a16="http://schemas.microsoft.com/office/drawing/2014/main" id="{E588ABBF-0D5F-45BE-B72D-77FA854700A3}"/>
              </a:ext>
            </a:extLst>
          </p:cNvPr>
          <p:cNvCxnSpPr>
            <a:cxnSpLocks/>
            <a:stCxn id="236" idx="4"/>
            <a:endCxn id="238" idx="0"/>
          </p:cNvCxnSpPr>
          <p:nvPr/>
        </p:nvCxnSpPr>
        <p:spPr>
          <a:xfrm>
            <a:off x="7651367" y="4122231"/>
            <a:ext cx="0" cy="1484937"/>
          </a:xfrm>
          <a:prstGeom prst="straightConnector1">
            <a:avLst/>
          </a:prstGeom>
          <a:ln>
            <a:solidFill>
              <a:srgbClr val="2F528F"/>
            </a:solidFill>
            <a:headEnd type="none" w="med" len="med"/>
            <a:tailEnd type="triangle"/>
          </a:ln>
        </p:spPr>
        <p:style>
          <a:lnRef idx="2">
            <a:schemeClr val="accent1"/>
          </a:lnRef>
          <a:fillRef idx="0">
            <a:schemeClr val="accent1"/>
          </a:fillRef>
          <a:effectRef idx="1">
            <a:schemeClr val="accent1"/>
          </a:effectRef>
          <a:fontRef idx="minor">
            <a:schemeClr val="tx1"/>
          </a:fontRef>
        </p:style>
      </p:cxnSp>
      <p:sp>
        <p:nvSpPr>
          <p:cNvPr id="246" name="Oval 245">
            <a:extLst>
              <a:ext uri="{FF2B5EF4-FFF2-40B4-BE49-F238E27FC236}">
                <a16:creationId xmlns:a16="http://schemas.microsoft.com/office/drawing/2014/main" id="{553C81DE-ADCF-43D6-9413-F99F14ABAB41}"/>
              </a:ext>
            </a:extLst>
          </p:cNvPr>
          <p:cNvSpPr/>
          <p:nvPr/>
        </p:nvSpPr>
        <p:spPr>
          <a:xfrm>
            <a:off x="8221208" y="4392528"/>
            <a:ext cx="1368000" cy="720000"/>
          </a:xfrm>
          <a:prstGeom prst="ellipse">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400"/>
            <a:r>
              <a:rPr lang="en-US" sz="1200" b="1">
                <a:solidFill>
                  <a:srgbClr val="000000"/>
                </a:solidFill>
                <a:latin typeface="Arial"/>
              </a:rPr>
              <a:t>Custom Variable</a:t>
            </a:r>
          </a:p>
        </p:txBody>
      </p:sp>
      <p:cxnSp>
        <p:nvCxnSpPr>
          <p:cNvPr id="247" name="Straight Arrow Connector 246">
            <a:extLst>
              <a:ext uri="{FF2B5EF4-FFF2-40B4-BE49-F238E27FC236}">
                <a16:creationId xmlns:a16="http://schemas.microsoft.com/office/drawing/2014/main" id="{AD4CF67A-2748-4477-9D68-4F6988EECEF6}"/>
              </a:ext>
            </a:extLst>
          </p:cNvPr>
          <p:cNvCxnSpPr>
            <a:cxnSpLocks/>
            <a:stCxn id="234" idx="4"/>
            <a:endCxn id="246" idx="0"/>
          </p:cNvCxnSpPr>
          <p:nvPr/>
        </p:nvCxnSpPr>
        <p:spPr>
          <a:xfrm flipH="1">
            <a:off x="8905208" y="3731132"/>
            <a:ext cx="1226574" cy="661396"/>
          </a:xfrm>
          <a:prstGeom prst="straightConnector1">
            <a:avLst/>
          </a:prstGeom>
          <a:ln>
            <a:solidFill>
              <a:srgbClr val="2F528F"/>
            </a:solidFill>
            <a:headEnd type="none" w="med" len="med"/>
            <a:tailEnd type="triangle"/>
          </a:ln>
        </p:spPr>
        <p:style>
          <a:lnRef idx="2">
            <a:schemeClr val="accent1"/>
          </a:lnRef>
          <a:fillRef idx="0">
            <a:schemeClr val="accent1"/>
          </a:fillRef>
          <a:effectRef idx="1">
            <a:schemeClr val="accent1"/>
          </a:effectRef>
          <a:fontRef idx="minor">
            <a:schemeClr val="tx1"/>
          </a:fontRef>
        </p:style>
      </p:cxnSp>
      <p:sp>
        <p:nvSpPr>
          <p:cNvPr id="248" name="TextBox 247">
            <a:extLst>
              <a:ext uri="{FF2B5EF4-FFF2-40B4-BE49-F238E27FC236}">
                <a16:creationId xmlns:a16="http://schemas.microsoft.com/office/drawing/2014/main" id="{14DDE1D3-9347-464D-8BFA-F31F30A9AD15}"/>
              </a:ext>
            </a:extLst>
          </p:cNvPr>
          <p:cNvSpPr txBox="1"/>
          <p:nvPr/>
        </p:nvSpPr>
        <p:spPr>
          <a:xfrm>
            <a:off x="9217215" y="2814969"/>
            <a:ext cx="213200" cy="184666"/>
          </a:xfrm>
          <a:prstGeom prst="rect">
            <a:avLst/>
          </a:prstGeom>
          <a:noFill/>
        </p:spPr>
        <p:txBody>
          <a:bodyPr wrap="none" lIns="0" tIns="0" rIns="0" bIns="0" rtlCol="0">
            <a:spAutoFit/>
          </a:bodyPr>
          <a:lstStyle/>
          <a:p>
            <a:pPr defTabSz="914400" fontAlgn="base">
              <a:spcBef>
                <a:spcPct val="50000"/>
              </a:spcBef>
              <a:spcAft>
                <a:spcPct val="0"/>
              </a:spcAft>
              <a:buClr>
                <a:srgbClr val="F0AB00"/>
              </a:buClr>
              <a:buSzPct val="80000"/>
              <a:defRPr/>
            </a:pPr>
            <a:r>
              <a:rPr lang="en-US" sz="1200" kern="0">
                <a:solidFill>
                  <a:srgbClr val="000000"/>
                </a:solidFill>
                <a:ea typeface="Arial Unicode MS" pitchFamily="34" charset="-128"/>
                <a:cs typeface="Arial Unicode MS" pitchFamily="34" charset="-128"/>
              </a:rPr>
              <a:t>1.n</a:t>
            </a:r>
            <a:endParaRPr lang="en-IL" sz="1200" kern="0" err="1">
              <a:solidFill>
                <a:srgbClr val="000000"/>
              </a:solidFill>
              <a:ea typeface="Arial Unicode MS" pitchFamily="34" charset="-128"/>
              <a:cs typeface="Arial Unicode MS" pitchFamily="34" charset="-128"/>
            </a:endParaRPr>
          </a:p>
        </p:txBody>
      </p:sp>
      <p:sp>
        <p:nvSpPr>
          <p:cNvPr id="250" name="TextBox 249">
            <a:extLst>
              <a:ext uri="{FF2B5EF4-FFF2-40B4-BE49-F238E27FC236}">
                <a16:creationId xmlns:a16="http://schemas.microsoft.com/office/drawing/2014/main" id="{E65F76C1-2703-42AE-A4C3-90FD68485556}"/>
              </a:ext>
            </a:extLst>
          </p:cNvPr>
          <p:cNvSpPr txBox="1"/>
          <p:nvPr/>
        </p:nvSpPr>
        <p:spPr>
          <a:xfrm>
            <a:off x="9589208" y="3937565"/>
            <a:ext cx="213200" cy="184666"/>
          </a:xfrm>
          <a:prstGeom prst="rect">
            <a:avLst/>
          </a:prstGeom>
          <a:noFill/>
        </p:spPr>
        <p:txBody>
          <a:bodyPr wrap="none" lIns="0" tIns="0" rIns="0" bIns="0" rtlCol="0">
            <a:spAutoFit/>
          </a:bodyPr>
          <a:lstStyle/>
          <a:p>
            <a:pPr defTabSz="914400" fontAlgn="base">
              <a:spcBef>
                <a:spcPct val="50000"/>
              </a:spcBef>
              <a:spcAft>
                <a:spcPct val="0"/>
              </a:spcAft>
              <a:buClr>
                <a:srgbClr val="F0AB00"/>
              </a:buClr>
              <a:buSzPct val="80000"/>
              <a:defRPr/>
            </a:pPr>
            <a:r>
              <a:rPr lang="en-US" sz="1200" kern="0">
                <a:solidFill>
                  <a:srgbClr val="000000"/>
                </a:solidFill>
                <a:ea typeface="Arial Unicode MS" pitchFamily="34" charset="-128"/>
                <a:cs typeface="Arial Unicode MS" pitchFamily="34" charset="-128"/>
              </a:rPr>
              <a:t>0.n</a:t>
            </a:r>
            <a:endParaRPr lang="en-IL" sz="1200" kern="0">
              <a:solidFill>
                <a:srgbClr val="000000"/>
              </a:solidFill>
              <a:ea typeface="Arial Unicode MS" pitchFamily="34" charset="-128"/>
              <a:cs typeface="Arial Unicode MS" pitchFamily="34" charset="-128"/>
            </a:endParaRPr>
          </a:p>
        </p:txBody>
      </p:sp>
      <p:sp>
        <p:nvSpPr>
          <p:cNvPr id="252" name="TextBox 251">
            <a:extLst>
              <a:ext uri="{FF2B5EF4-FFF2-40B4-BE49-F238E27FC236}">
                <a16:creationId xmlns:a16="http://schemas.microsoft.com/office/drawing/2014/main" id="{D77E1090-BB38-4B5E-B323-14A21B20474A}"/>
              </a:ext>
            </a:extLst>
          </p:cNvPr>
          <p:cNvSpPr txBox="1"/>
          <p:nvPr/>
        </p:nvSpPr>
        <p:spPr>
          <a:xfrm>
            <a:off x="10548481" y="3998799"/>
            <a:ext cx="213200" cy="184666"/>
          </a:xfrm>
          <a:prstGeom prst="rect">
            <a:avLst/>
          </a:prstGeom>
          <a:noFill/>
        </p:spPr>
        <p:txBody>
          <a:bodyPr wrap="none" lIns="0" tIns="0" rIns="0" bIns="0" rtlCol="0">
            <a:spAutoFit/>
          </a:bodyPr>
          <a:lstStyle/>
          <a:p>
            <a:pPr defTabSz="914400" fontAlgn="base">
              <a:spcBef>
                <a:spcPct val="50000"/>
              </a:spcBef>
              <a:spcAft>
                <a:spcPct val="0"/>
              </a:spcAft>
              <a:buClr>
                <a:srgbClr val="F0AB00"/>
              </a:buClr>
              <a:buSzPct val="80000"/>
              <a:defRPr/>
            </a:pPr>
            <a:r>
              <a:rPr lang="en-US" sz="1200" kern="0">
                <a:solidFill>
                  <a:srgbClr val="000000"/>
                </a:solidFill>
                <a:ea typeface="Arial Unicode MS" pitchFamily="34" charset="-128"/>
                <a:cs typeface="Arial Unicode MS" pitchFamily="34" charset="-128"/>
              </a:rPr>
              <a:t>0.n</a:t>
            </a:r>
            <a:endParaRPr lang="en-IL" sz="1200" kern="0">
              <a:solidFill>
                <a:srgbClr val="000000"/>
              </a:solidFill>
              <a:ea typeface="Arial Unicode MS" pitchFamily="34" charset="-128"/>
              <a:cs typeface="Arial Unicode MS" pitchFamily="34" charset="-128"/>
            </a:endParaRPr>
          </a:p>
        </p:txBody>
      </p:sp>
      <p:sp>
        <p:nvSpPr>
          <p:cNvPr id="253" name="Oval 252">
            <a:extLst>
              <a:ext uri="{FF2B5EF4-FFF2-40B4-BE49-F238E27FC236}">
                <a16:creationId xmlns:a16="http://schemas.microsoft.com/office/drawing/2014/main" id="{4F942EB1-9CE8-45A7-A51A-4A95DBE06D16}"/>
              </a:ext>
            </a:extLst>
          </p:cNvPr>
          <p:cNvSpPr/>
          <p:nvPr/>
        </p:nvSpPr>
        <p:spPr>
          <a:xfrm>
            <a:off x="4469200" y="4471182"/>
            <a:ext cx="1800000" cy="720000"/>
          </a:xfrm>
          <a:prstGeom prst="ellipse">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defTabSz="914400">
              <a:defRPr/>
            </a:pPr>
            <a:r>
              <a:rPr lang="en-US" sz="1200" b="1">
                <a:solidFill>
                  <a:schemeClr val="tx1"/>
                </a:solidFill>
                <a:latin typeface="Arial"/>
              </a:rPr>
              <a:t>Networking setting</a:t>
            </a:r>
          </a:p>
        </p:txBody>
      </p:sp>
      <p:cxnSp>
        <p:nvCxnSpPr>
          <p:cNvPr id="254" name="Straight Arrow Connector 253">
            <a:extLst>
              <a:ext uri="{FF2B5EF4-FFF2-40B4-BE49-F238E27FC236}">
                <a16:creationId xmlns:a16="http://schemas.microsoft.com/office/drawing/2014/main" id="{C349FA12-F7EF-4A49-BC58-C64476AC8E12}"/>
              </a:ext>
            </a:extLst>
          </p:cNvPr>
          <p:cNvCxnSpPr>
            <a:cxnSpLocks/>
            <a:stCxn id="233" idx="3"/>
            <a:endCxn id="253" idx="7"/>
          </p:cNvCxnSpPr>
          <p:nvPr/>
        </p:nvCxnSpPr>
        <p:spPr>
          <a:xfrm flipH="1">
            <a:off x="6005596" y="2666492"/>
            <a:ext cx="971191" cy="1910132"/>
          </a:xfrm>
          <a:prstGeom prst="straightConnector1">
            <a:avLst/>
          </a:prstGeom>
          <a:ln>
            <a:solidFill>
              <a:srgbClr val="2F528F"/>
            </a:solidFill>
            <a:prstDash val="dash"/>
            <a:headEnd type="none" w="med" len="med"/>
            <a:tailEnd type="triangle"/>
          </a:ln>
        </p:spPr>
        <p:style>
          <a:lnRef idx="2">
            <a:schemeClr val="accent1"/>
          </a:lnRef>
          <a:fillRef idx="0">
            <a:schemeClr val="accent1"/>
          </a:fillRef>
          <a:effectRef idx="1">
            <a:schemeClr val="accent1"/>
          </a:effectRef>
          <a:fontRef idx="minor">
            <a:schemeClr val="tx1"/>
          </a:fontRef>
        </p:style>
      </p:cxnSp>
      <p:sp>
        <p:nvSpPr>
          <p:cNvPr id="255" name="Oval 254">
            <a:extLst>
              <a:ext uri="{FF2B5EF4-FFF2-40B4-BE49-F238E27FC236}">
                <a16:creationId xmlns:a16="http://schemas.microsoft.com/office/drawing/2014/main" id="{765BE514-F712-4903-95ED-3836EB53B787}"/>
              </a:ext>
            </a:extLst>
          </p:cNvPr>
          <p:cNvSpPr/>
          <p:nvPr/>
        </p:nvSpPr>
        <p:spPr>
          <a:xfrm>
            <a:off x="4440330" y="3308771"/>
            <a:ext cx="1800000" cy="720000"/>
          </a:xfrm>
          <a:prstGeom prst="ellipse">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400">
              <a:defRPr/>
            </a:pPr>
            <a:r>
              <a:rPr lang="en-US" sz="1200" b="1">
                <a:solidFill>
                  <a:srgbClr val="000000"/>
                </a:solidFill>
                <a:latin typeface="Arial"/>
              </a:rPr>
              <a:t>JWT Validation config</a:t>
            </a:r>
          </a:p>
        </p:txBody>
      </p:sp>
      <p:sp>
        <p:nvSpPr>
          <p:cNvPr id="333" name="Callout: Bent Line with Accent Bar 332">
            <a:extLst>
              <a:ext uri="{FF2B5EF4-FFF2-40B4-BE49-F238E27FC236}">
                <a16:creationId xmlns:a16="http://schemas.microsoft.com/office/drawing/2014/main" id="{437392E9-142D-4ECB-8283-691935F4B514}"/>
              </a:ext>
            </a:extLst>
          </p:cNvPr>
          <p:cNvSpPr/>
          <p:nvPr/>
        </p:nvSpPr>
        <p:spPr bwMode="gray">
          <a:xfrm>
            <a:off x="9661518" y="1342936"/>
            <a:ext cx="2402130" cy="748658"/>
          </a:xfrm>
          <a:prstGeom prst="accentCallout2">
            <a:avLst>
              <a:gd name="adj1" fmla="val 18750"/>
              <a:gd name="adj2" fmla="val -8333"/>
              <a:gd name="adj3" fmla="val 18750"/>
              <a:gd name="adj4" fmla="val -16667"/>
              <a:gd name="adj5" fmla="val 106574"/>
              <a:gd name="adj6" fmla="val -55562"/>
            </a:avLst>
          </a:prstGeom>
          <a:ln>
            <a:solidFill>
              <a:srgbClr val="2F528F"/>
            </a:solidFill>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t" anchorCtr="0"/>
          <a:lstStyle/>
          <a:p>
            <a:pPr defTabSz="914400" fontAlgn="base">
              <a:spcBef>
                <a:spcPct val="50000"/>
              </a:spcBef>
              <a:spcAft>
                <a:spcPct val="0"/>
              </a:spcAft>
              <a:buClr>
                <a:srgbClr val="F0AB00"/>
              </a:buClr>
              <a:buSzPct val="80000"/>
              <a:defRPr/>
            </a:pPr>
            <a:r>
              <a:rPr lang="en-US" sz="1400" kern="0">
                <a:solidFill>
                  <a:srgbClr val="000000"/>
                </a:solidFill>
                <a:latin typeface="Arial"/>
                <a:ea typeface="Arial Unicode MS"/>
                <a:cs typeface="Arial Unicode MS"/>
              </a:rPr>
              <a:t>Target UGW region (</a:t>
            </a:r>
            <a:r>
              <a:rPr lang="en-US" sz="1400" kern="0" err="1">
                <a:solidFill>
                  <a:srgbClr val="000000"/>
                </a:solidFill>
                <a:latin typeface="Arial"/>
                <a:ea typeface="Arial Unicode MS"/>
                <a:cs typeface="Arial Unicode MS"/>
              </a:rPr>
              <a:t>PoP</a:t>
            </a:r>
            <a:r>
              <a:rPr lang="en-US" sz="1400" kern="0">
                <a:solidFill>
                  <a:srgbClr val="000000"/>
                </a:solidFill>
                <a:latin typeface="Arial"/>
                <a:ea typeface="Arial Unicode MS"/>
                <a:cs typeface="Arial Unicode MS"/>
              </a:rPr>
              <a:t>)</a:t>
            </a:r>
          </a:p>
          <a:p>
            <a:pPr defTabSz="914400" fontAlgn="base">
              <a:spcBef>
                <a:spcPct val="50000"/>
              </a:spcBef>
              <a:spcAft>
                <a:spcPct val="0"/>
              </a:spcAft>
              <a:buClr>
                <a:srgbClr val="F0AB00"/>
              </a:buClr>
              <a:buSzPct val="80000"/>
              <a:defRPr/>
            </a:pPr>
            <a:r>
              <a:rPr lang="en-US" sz="1400" kern="0">
                <a:solidFill>
                  <a:srgbClr val="000000"/>
                </a:solidFill>
                <a:latin typeface="Arial"/>
                <a:ea typeface="Arial Unicode MS"/>
                <a:cs typeface="Arial Unicode MS"/>
              </a:rPr>
              <a:t>Client facing domain</a:t>
            </a:r>
          </a:p>
        </p:txBody>
      </p:sp>
      <p:sp>
        <p:nvSpPr>
          <p:cNvPr id="362" name="TextBox 361">
            <a:extLst>
              <a:ext uri="{FF2B5EF4-FFF2-40B4-BE49-F238E27FC236}">
                <a16:creationId xmlns:a16="http://schemas.microsoft.com/office/drawing/2014/main" id="{C3DF6437-26F7-4862-9D69-C0EA435CEC66}"/>
              </a:ext>
            </a:extLst>
          </p:cNvPr>
          <p:cNvSpPr txBox="1"/>
          <p:nvPr/>
        </p:nvSpPr>
        <p:spPr>
          <a:xfrm>
            <a:off x="1325579" y="1219201"/>
            <a:ext cx="1346522" cy="276999"/>
          </a:xfrm>
          <a:prstGeom prst="rect">
            <a:avLst/>
          </a:prstGeom>
          <a:noFill/>
        </p:spPr>
        <p:txBody>
          <a:bodyPr wrap="none" lIns="0" tIns="0" rIns="0" bIns="0" rtlCol="0">
            <a:spAutoFit/>
          </a:bodyPr>
          <a:lstStyle/>
          <a:p>
            <a:pPr defTabSz="914400" fontAlgn="base">
              <a:spcBef>
                <a:spcPct val="50000"/>
              </a:spcBef>
              <a:spcAft>
                <a:spcPct val="0"/>
              </a:spcAft>
              <a:buClr>
                <a:srgbClr val="F0AB00"/>
              </a:buClr>
              <a:buSzPct val="80000"/>
              <a:defRPr/>
            </a:pPr>
            <a:r>
              <a:rPr lang="en-US" sz="1800" b="1" kern="0">
                <a:solidFill>
                  <a:srgbClr val="000000"/>
                </a:solidFill>
                <a:ea typeface="Arial Unicode MS" pitchFamily="34" charset="-128"/>
                <a:cs typeface="Arial Unicode MS" pitchFamily="34" charset="-128"/>
              </a:rPr>
              <a:t>Registration</a:t>
            </a:r>
            <a:endParaRPr lang="en-IL" sz="1800" b="1" kern="0">
              <a:solidFill>
                <a:srgbClr val="000000"/>
              </a:solidFill>
              <a:ea typeface="Arial Unicode MS" pitchFamily="34" charset="-128"/>
              <a:cs typeface="Arial Unicode MS" pitchFamily="34" charset="-128"/>
            </a:endParaRPr>
          </a:p>
        </p:txBody>
      </p:sp>
      <p:sp>
        <p:nvSpPr>
          <p:cNvPr id="363" name="TextBox 362">
            <a:extLst>
              <a:ext uri="{FF2B5EF4-FFF2-40B4-BE49-F238E27FC236}">
                <a16:creationId xmlns:a16="http://schemas.microsoft.com/office/drawing/2014/main" id="{477378AC-894E-4B97-9A95-697C988361B9}"/>
              </a:ext>
            </a:extLst>
          </p:cNvPr>
          <p:cNvSpPr txBox="1"/>
          <p:nvPr/>
        </p:nvSpPr>
        <p:spPr>
          <a:xfrm>
            <a:off x="7108367" y="1219201"/>
            <a:ext cx="1513235" cy="276999"/>
          </a:xfrm>
          <a:prstGeom prst="rect">
            <a:avLst/>
          </a:prstGeom>
          <a:noFill/>
        </p:spPr>
        <p:txBody>
          <a:bodyPr wrap="none" lIns="0" tIns="0" rIns="0" bIns="0" rtlCol="0">
            <a:spAutoFit/>
          </a:bodyPr>
          <a:lstStyle/>
          <a:p>
            <a:pPr defTabSz="914400" fontAlgn="base">
              <a:spcBef>
                <a:spcPct val="50000"/>
              </a:spcBef>
              <a:spcAft>
                <a:spcPct val="0"/>
              </a:spcAft>
              <a:buClr>
                <a:srgbClr val="F0AB00"/>
              </a:buClr>
              <a:buSzPct val="80000"/>
              <a:defRPr/>
            </a:pPr>
            <a:r>
              <a:rPr lang="en-US" sz="1800" b="1" kern="0">
                <a:solidFill>
                  <a:srgbClr val="000000"/>
                </a:solidFill>
                <a:ea typeface="Arial Unicode MS" pitchFamily="34" charset="-128"/>
                <a:cs typeface="Arial Unicode MS" pitchFamily="34" charset="-128"/>
              </a:rPr>
              <a:t>Configuration</a:t>
            </a:r>
            <a:endParaRPr lang="en-IL" sz="1800" b="1" kern="0" err="1">
              <a:solidFill>
                <a:srgbClr val="000000"/>
              </a:solidFill>
              <a:ea typeface="Arial Unicode MS" pitchFamily="34" charset="-128"/>
              <a:cs typeface="Arial Unicode MS" pitchFamily="34" charset="-128"/>
            </a:endParaRPr>
          </a:p>
        </p:txBody>
      </p:sp>
      <p:cxnSp>
        <p:nvCxnSpPr>
          <p:cNvPr id="11" name="Straight Arrow Connector 10">
            <a:extLst>
              <a:ext uri="{FF2B5EF4-FFF2-40B4-BE49-F238E27FC236}">
                <a16:creationId xmlns:a16="http://schemas.microsoft.com/office/drawing/2014/main" id="{02EAD575-C67A-C835-D7FD-AD892F2BEBE5}"/>
              </a:ext>
            </a:extLst>
          </p:cNvPr>
          <p:cNvCxnSpPr>
            <a:cxnSpLocks/>
            <a:stCxn id="234" idx="4"/>
            <a:endCxn id="235" idx="0"/>
          </p:cNvCxnSpPr>
          <p:nvPr/>
        </p:nvCxnSpPr>
        <p:spPr>
          <a:xfrm>
            <a:off x="10131782" y="3731132"/>
            <a:ext cx="1313899" cy="761545"/>
          </a:xfrm>
          <a:prstGeom prst="straightConnector1">
            <a:avLst/>
          </a:prstGeom>
          <a:ln>
            <a:solidFill>
              <a:srgbClr val="2F528F"/>
            </a:solidFill>
            <a:headEnd type="none" w="med" len="med"/>
            <a:tailEnd type="triangle"/>
          </a:ln>
        </p:spPr>
        <p:style>
          <a:lnRef idx="2">
            <a:schemeClr val="accent1"/>
          </a:lnRef>
          <a:fillRef idx="0">
            <a:schemeClr val="accent1"/>
          </a:fillRef>
          <a:effectRef idx="1">
            <a:schemeClr val="accent1"/>
          </a:effectRef>
          <a:fontRef idx="minor">
            <a:schemeClr val="tx1"/>
          </a:fontRef>
        </p:style>
      </p:cxnSp>
      <p:sp>
        <p:nvSpPr>
          <p:cNvPr id="19" name="Oval 18">
            <a:extLst>
              <a:ext uri="{FF2B5EF4-FFF2-40B4-BE49-F238E27FC236}">
                <a16:creationId xmlns:a16="http://schemas.microsoft.com/office/drawing/2014/main" id="{06ADD3C5-7E1F-95B1-AE8B-16192A8FDB5C}"/>
              </a:ext>
            </a:extLst>
          </p:cNvPr>
          <p:cNvSpPr/>
          <p:nvPr/>
        </p:nvSpPr>
        <p:spPr>
          <a:xfrm>
            <a:off x="9420730" y="5022825"/>
            <a:ext cx="1449323" cy="720000"/>
          </a:xfrm>
          <a:prstGeom prst="ellipse">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400"/>
            <a:r>
              <a:rPr lang="en-US" sz="900" b="1">
                <a:solidFill>
                  <a:srgbClr val="000000"/>
                </a:solidFill>
                <a:latin typeface="Arial"/>
              </a:rPr>
              <a:t>Client Authentication</a:t>
            </a:r>
          </a:p>
        </p:txBody>
      </p:sp>
      <p:cxnSp>
        <p:nvCxnSpPr>
          <p:cNvPr id="22" name="Straight Arrow Connector 21">
            <a:extLst>
              <a:ext uri="{FF2B5EF4-FFF2-40B4-BE49-F238E27FC236}">
                <a16:creationId xmlns:a16="http://schemas.microsoft.com/office/drawing/2014/main" id="{4EFF33FC-65A6-F3F0-5236-A32526D712FB}"/>
              </a:ext>
            </a:extLst>
          </p:cNvPr>
          <p:cNvCxnSpPr>
            <a:cxnSpLocks/>
            <a:stCxn id="234" idx="4"/>
            <a:endCxn id="19" idx="0"/>
          </p:cNvCxnSpPr>
          <p:nvPr/>
        </p:nvCxnSpPr>
        <p:spPr>
          <a:xfrm>
            <a:off x="10131782" y="3731132"/>
            <a:ext cx="13610" cy="1291693"/>
          </a:xfrm>
          <a:prstGeom prst="straightConnector1">
            <a:avLst/>
          </a:prstGeom>
          <a:ln>
            <a:solidFill>
              <a:srgbClr val="2F528F"/>
            </a:solidFill>
            <a:headEnd type="none" w="med" len="med"/>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722358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45D882-FF6A-0D43-63C3-5B900EDA9249}"/>
              </a:ext>
            </a:extLst>
          </p:cNvPr>
          <p:cNvSpPr>
            <a:spLocks noGrp="1"/>
          </p:cNvSpPr>
          <p:nvPr>
            <p:ph type="ctrTitle"/>
          </p:nvPr>
        </p:nvSpPr>
        <p:spPr/>
        <p:txBody>
          <a:bodyPr/>
          <a:lstStyle/>
          <a:p>
            <a:r>
              <a:rPr lang="en-US"/>
              <a:t>Demo</a:t>
            </a:r>
            <a:endParaRPr lang="en-IL"/>
          </a:p>
        </p:txBody>
      </p:sp>
    </p:spTree>
    <p:extLst>
      <p:ext uri="{BB962C8B-B14F-4D97-AF65-F5344CB8AC3E}">
        <p14:creationId xmlns:p14="http://schemas.microsoft.com/office/powerpoint/2010/main" val="14956214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2A5BEF7-EF51-8307-28F5-60D46FE39C1F}"/>
              </a:ext>
            </a:extLst>
          </p:cNvPr>
          <p:cNvSpPr>
            <a:spLocks noGrp="1"/>
          </p:cNvSpPr>
          <p:nvPr>
            <p:ph type="body" sz="quarter" idx="10"/>
          </p:nvPr>
        </p:nvSpPr>
        <p:spPr>
          <a:xfrm>
            <a:off x="503999" y="1241118"/>
            <a:ext cx="11186477" cy="5094882"/>
          </a:xfrm>
        </p:spPr>
        <p:txBody>
          <a:bodyPr>
            <a:normAutofit/>
          </a:bodyPr>
          <a:lstStyle/>
          <a:p>
            <a:pPr marL="0" lvl="1" indent="0">
              <a:spcBef>
                <a:spcPts val="300"/>
              </a:spcBef>
              <a:buNone/>
            </a:pPr>
            <a:endParaRPr lang="en-US" sz="1600">
              <a:latin typeface="+mj-lt"/>
              <a:cs typeface="Arial"/>
            </a:endParaRPr>
          </a:p>
          <a:p>
            <a:pPr lvl="1">
              <a:spcBef>
                <a:spcPts val="300"/>
              </a:spcBef>
            </a:pPr>
            <a:r>
              <a:rPr lang="en-US" sz="1600">
                <a:latin typeface="+mj-lt"/>
                <a:cs typeface="Arial"/>
              </a:rPr>
              <a:t>Explore UGW onboarding kit, samples and how-</a:t>
            </a:r>
            <a:r>
              <a:rPr lang="en-US" sz="1600" err="1">
                <a:latin typeface="+mj-lt"/>
                <a:cs typeface="Arial"/>
              </a:rPr>
              <a:t>to’s</a:t>
            </a:r>
            <a:r>
              <a:rPr lang="en-US" sz="1600">
                <a:latin typeface="+mj-lt"/>
                <a:cs typeface="Arial"/>
              </a:rPr>
              <a:t> on the service documentation. </a:t>
            </a:r>
          </a:p>
          <a:p>
            <a:pPr marL="465714" lvl="1" indent="-285750">
              <a:spcBef>
                <a:spcPts val="300"/>
              </a:spcBef>
            </a:pPr>
            <a:r>
              <a:rPr lang="en-US" sz="1600">
                <a:latin typeface="+mj-lt"/>
                <a:cs typeface="Arial"/>
                <a:hlinkClick r:id="rId2"/>
              </a:rPr>
              <a:t>Sample Cloud Foundry application</a:t>
            </a:r>
            <a:r>
              <a:rPr lang="en-US" sz="1600">
                <a:latin typeface="+mj-lt"/>
                <a:cs typeface="Arial"/>
              </a:rPr>
              <a:t> </a:t>
            </a:r>
          </a:p>
          <a:p>
            <a:pPr marL="464561" lvl="2" indent="0">
              <a:buNone/>
            </a:pPr>
            <a:r>
              <a:rPr lang="en-US" sz="1600">
                <a:latin typeface="+mj-lt"/>
                <a:cs typeface="Arial"/>
              </a:rPr>
              <a:t>Configuring Cloud Foundry API based and </a:t>
            </a:r>
            <a:r>
              <a:rPr lang="en-US" sz="1600" err="1">
                <a:latin typeface="+mj-lt"/>
                <a:cs typeface="Arial"/>
              </a:rPr>
              <a:t>AppRouter</a:t>
            </a:r>
            <a:r>
              <a:rPr lang="en-US" sz="1600">
                <a:latin typeface="+mj-lt"/>
                <a:cs typeface="Arial"/>
              </a:rPr>
              <a:t> applications to work with Unified Gateway</a:t>
            </a:r>
          </a:p>
          <a:p>
            <a:pPr marL="465714" lvl="1" indent="-285750">
              <a:spcBef>
                <a:spcPts val="300"/>
              </a:spcBef>
            </a:pPr>
            <a:r>
              <a:rPr lang="en-US" sz="1600">
                <a:latin typeface="+mj-lt"/>
                <a:cs typeface="Arial"/>
                <a:hlinkClick r:id="rId3"/>
              </a:rPr>
              <a:t>Evaluate and test your application with Unified Gateway</a:t>
            </a:r>
            <a:endParaRPr lang="en-US" sz="1600">
              <a:latin typeface="+mj-lt"/>
              <a:cs typeface="Arial"/>
            </a:endParaRPr>
          </a:p>
          <a:p>
            <a:pPr marL="464561" lvl="2" indent="0">
              <a:buNone/>
            </a:pPr>
            <a:r>
              <a:rPr lang="en-US" sz="1600">
                <a:latin typeface="+mj-lt"/>
                <a:cs typeface="Arial"/>
              </a:rPr>
              <a:t>Full step by step guide - how to configure and test your Cloud Foundry application with Unified Gateway based on your application details</a:t>
            </a:r>
          </a:p>
          <a:p>
            <a:pPr marL="465714" lvl="1" indent="-285750">
              <a:spcBef>
                <a:spcPts val="300"/>
              </a:spcBef>
            </a:pPr>
            <a:r>
              <a:rPr lang="en-US" sz="1600">
                <a:latin typeface="+mj-lt"/>
                <a:cs typeface="Arial"/>
                <a:hlinkClick r:id="rId4"/>
              </a:rPr>
              <a:t>Configure your application with Unified Gateway</a:t>
            </a:r>
            <a:endParaRPr lang="en-US" sz="1600">
              <a:latin typeface="+mj-lt"/>
              <a:cs typeface="Arial"/>
            </a:endParaRPr>
          </a:p>
          <a:p>
            <a:pPr marL="464561" lvl="2" indent="0">
              <a:buNone/>
            </a:pPr>
            <a:r>
              <a:rPr lang="en-US" sz="1600">
                <a:latin typeface="+mj-lt"/>
                <a:cs typeface="Arial"/>
              </a:rPr>
              <a:t>Full step by step guide - how to configure your Cloud Foundry application to work productively with Unified Gateway</a:t>
            </a:r>
          </a:p>
          <a:p>
            <a:pPr marL="465714" lvl="1" indent="-285750">
              <a:spcBef>
                <a:spcPts val="300"/>
              </a:spcBef>
            </a:pPr>
            <a:r>
              <a:rPr lang="en-US" sz="1600">
                <a:latin typeface="+mj-lt"/>
                <a:cs typeface="Arial"/>
                <a:hlinkClick r:id="rId5"/>
              </a:rPr>
              <a:t>CI for Cloud Foundry application</a:t>
            </a:r>
            <a:r>
              <a:rPr lang="en-US" sz="1600">
                <a:latin typeface="+mj-lt"/>
                <a:cs typeface="Arial"/>
              </a:rPr>
              <a:t> and </a:t>
            </a:r>
            <a:r>
              <a:rPr lang="en-US" sz="1600">
                <a:latin typeface="+mj-lt"/>
                <a:cs typeface="Arial"/>
                <a:hlinkClick r:id="rId6"/>
              </a:rPr>
              <a:t>Applying Resources Using the `helm-</a:t>
            </a:r>
            <a:r>
              <a:rPr lang="en-US" sz="1600" err="1">
                <a:latin typeface="+mj-lt"/>
                <a:cs typeface="Arial"/>
                <a:hlinkClick r:id="rId6"/>
              </a:rPr>
              <a:t>urm</a:t>
            </a:r>
            <a:r>
              <a:rPr lang="en-US" sz="1600">
                <a:latin typeface="+mj-lt"/>
                <a:cs typeface="Arial"/>
                <a:hlinkClick r:id="rId6"/>
              </a:rPr>
              <a:t>` Plugin</a:t>
            </a:r>
          </a:p>
          <a:p>
            <a:pPr marL="464561" lvl="2" indent="0">
              <a:buNone/>
            </a:pPr>
            <a:r>
              <a:rPr lang="en-US" sz="1600">
                <a:solidFill>
                  <a:srgbClr val="222222"/>
                </a:solidFill>
                <a:latin typeface="+mj-lt"/>
                <a:cs typeface="Arial"/>
              </a:rPr>
              <a:t>How to automate the CI process of applying Unified Gateway resources to Unified Services</a:t>
            </a:r>
            <a:endParaRPr lang="en-US" sz="1600">
              <a:latin typeface="+mj-lt"/>
              <a:cs typeface="Arial"/>
            </a:endParaRPr>
          </a:p>
          <a:p>
            <a:pPr marL="465714" lvl="1" indent="-285750">
              <a:spcBef>
                <a:spcPts val="300"/>
              </a:spcBef>
            </a:pPr>
            <a:r>
              <a:rPr lang="en-US" sz="1600">
                <a:latin typeface="+mj-lt"/>
                <a:cs typeface="Arial"/>
                <a:hlinkClick r:id="rId7"/>
              </a:rPr>
              <a:t>Request and Configure a Splunk Server with Unified Gateway</a:t>
            </a:r>
            <a:r>
              <a:rPr lang="en-US" sz="1600">
                <a:latin typeface="+mj-lt"/>
                <a:cs typeface="Arial"/>
              </a:rPr>
              <a:t> </a:t>
            </a:r>
          </a:p>
          <a:p>
            <a:pPr marL="464561" lvl="2" indent="0">
              <a:buNone/>
            </a:pPr>
            <a:r>
              <a:rPr lang="en-US" sz="1600">
                <a:solidFill>
                  <a:srgbClr val="222222"/>
                </a:solidFill>
                <a:latin typeface="+mj-lt"/>
                <a:cs typeface="Arial"/>
              </a:rPr>
              <a:t>How to request, configure and use Splunk server which stores the collected access logs to your application via Unified Gateway</a:t>
            </a:r>
            <a:endParaRPr lang="en-US" sz="1600">
              <a:latin typeface="+mj-lt"/>
              <a:cs typeface="Arial"/>
            </a:endParaRPr>
          </a:p>
          <a:p>
            <a:endParaRPr lang="en-US" sz="2400"/>
          </a:p>
        </p:txBody>
      </p:sp>
      <p:sp>
        <p:nvSpPr>
          <p:cNvPr id="3" name="Title 2">
            <a:extLst>
              <a:ext uri="{FF2B5EF4-FFF2-40B4-BE49-F238E27FC236}">
                <a16:creationId xmlns:a16="http://schemas.microsoft.com/office/drawing/2014/main" id="{C23042B8-BECD-530B-9B85-8F1EF1E11A80}"/>
              </a:ext>
            </a:extLst>
          </p:cNvPr>
          <p:cNvSpPr>
            <a:spLocks noGrp="1"/>
          </p:cNvSpPr>
          <p:nvPr>
            <p:ph type="title"/>
          </p:nvPr>
        </p:nvSpPr>
        <p:spPr/>
        <p:txBody>
          <a:bodyPr/>
          <a:lstStyle/>
          <a:p>
            <a:r>
              <a:rPr lang="en-US"/>
              <a:t>How to get help?</a:t>
            </a:r>
          </a:p>
        </p:txBody>
      </p:sp>
      <p:sp>
        <p:nvSpPr>
          <p:cNvPr id="4" name="Rectangle 3">
            <a:extLst>
              <a:ext uri="{FF2B5EF4-FFF2-40B4-BE49-F238E27FC236}">
                <a16:creationId xmlns:a16="http://schemas.microsoft.com/office/drawing/2014/main" id="{EFB24CBC-DCD1-67A5-C37E-6F7A67A733AF}"/>
              </a:ext>
            </a:extLst>
          </p:cNvPr>
          <p:cNvSpPr/>
          <p:nvPr/>
        </p:nvSpPr>
        <p:spPr bwMode="gray">
          <a:xfrm>
            <a:off x="895739" y="5347375"/>
            <a:ext cx="10794737" cy="53901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lIns="90000" tIns="72000" rIns="90000" bIns="72000" rtlCol="0" anchor="ctr"/>
          <a:lstStyle/>
          <a:p>
            <a:pPr lvl="0" algn="ctr">
              <a:lnSpc>
                <a:spcPts val="1650"/>
              </a:lnSpc>
              <a:spcAft>
                <a:spcPts val="1200"/>
              </a:spcAft>
              <a:tabLst>
                <a:tab pos="457200" algn="l"/>
              </a:tabLst>
            </a:pPr>
            <a:r>
              <a:rPr kumimoji="0" lang="en-US" sz="1800" b="0" i="0" u="none" strike="noStrike" kern="0" cap="none" spc="0" normalizeH="0" baseline="0" noProof="0">
                <a:ln>
                  <a:noFill/>
                </a:ln>
                <a:solidFill>
                  <a:schemeClr val="tx1"/>
                </a:solidFill>
                <a:effectLst/>
                <a:uLnTx/>
                <a:uFillTx/>
                <a:ea typeface="Arial Unicode MS" pitchFamily="34" charset="-128"/>
                <a:cs typeface="Arial Unicode MS" pitchFamily="34" charset="-128"/>
              </a:rPr>
              <a:t>UGW Support channel: </a:t>
            </a:r>
            <a:r>
              <a:rPr lang="en-US" sz="1800" u="sng">
                <a:solidFill>
                  <a:srgbClr val="222222"/>
                </a:solidFill>
                <a:effectLst/>
                <a:latin typeface="Arial" panose="020B0604020202020204" pitchFamily="34" charset="0"/>
                <a:ea typeface="Times New Roman" panose="02020603050405020304" pitchFamily="18" charset="0"/>
                <a:cs typeface="Calibri" panose="020F0502020204030204" pitchFamily="34" charset="0"/>
                <a:hlinkClick r:id="rId8"/>
              </a:rPr>
              <a:t>UGW Support Channel</a:t>
            </a: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9618370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8827950-D1B9-3139-D636-60FEA2DEC5F6}"/>
              </a:ext>
            </a:extLst>
          </p:cNvPr>
          <p:cNvSpPr>
            <a:spLocks noGrp="1"/>
          </p:cNvSpPr>
          <p:nvPr>
            <p:ph type="body" sz="quarter" idx="10"/>
          </p:nvPr>
        </p:nvSpPr>
        <p:spPr>
          <a:xfrm>
            <a:off x="410694" y="1585396"/>
            <a:ext cx="11185200" cy="1325755"/>
          </a:xfrm>
        </p:spPr>
        <p:txBody>
          <a:bodyPr anchor="ctr">
            <a:normAutofit/>
          </a:bodyPr>
          <a:lstStyle/>
          <a:p>
            <a:pPr algn="ctr"/>
            <a:r>
              <a:rPr lang="en-US" sz="9600"/>
              <a:t>Q&amp;A</a:t>
            </a:r>
          </a:p>
        </p:txBody>
      </p:sp>
    </p:spTree>
    <p:extLst>
      <p:ext uri="{BB962C8B-B14F-4D97-AF65-F5344CB8AC3E}">
        <p14:creationId xmlns:p14="http://schemas.microsoft.com/office/powerpoint/2010/main" val="41663864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FF6509B-9EC1-7234-E9F3-88AB43AEC005}"/>
              </a:ext>
            </a:extLst>
          </p:cNvPr>
          <p:cNvSpPr/>
          <p:nvPr/>
        </p:nvSpPr>
        <p:spPr bwMode="gray">
          <a:xfrm>
            <a:off x="7424175" y="1394071"/>
            <a:ext cx="4646598" cy="3262600"/>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lIns="90000" tIns="72000" rIns="90000" bIns="72000" rtlCol="0" anchor="t"/>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1" i="0" u="none" strike="noStrike" kern="0" cap="none" spc="0" normalizeH="0" baseline="0" noProof="0">
                <a:ln>
                  <a:noFill/>
                </a:ln>
                <a:effectLst/>
                <a:uLnTx/>
                <a:uFillTx/>
                <a:ea typeface="Arial Unicode MS" pitchFamily="34" charset="-128"/>
                <a:cs typeface="Arial Unicode MS" pitchFamily="34" charset="-128"/>
              </a:rPr>
              <a:t>Data center (4+1)</a:t>
            </a:r>
          </a:p>
        </p:txBody>
      </p:sp>
      <p:sp>
        <p:nvSpPr>
          <p:cNvPr id="20" name="Rectangle 19">
            <a:extLst>
              <a:ext uri="{FF2B5EF4-FFF2-40B4-BE49-F238E27FC236}">
                <a16:creationId xmlns:a16="http://schemas.microsoft.com/office/drawing/2014/main" id="{43508EC5-B041-B4EE-215C-004AE3F3A28D}"/>
              </a:ext>
            </a:extLst>
          </p:cNvPr>
          <p:cNvSpPr/>
          <p:nvPr/>
        </p:nvSpPr>
        <p:spPr bwMode="gray">
          <a:xfrm>
            <a:off x="9884695" y="1774049"/>
            <a:ext cx="2081304" cy="2365744"/>
          </a:xfrm>
          <a:prstGeom prst="rect">
            <a:avLst/>
          </a:prstGeom>
          <a:solidFill>
            <a:schemeClr val="accent1">
              <a:lumMod val="20000"/>
              <a:lumOff val="80000"/>
            </a:schemeClr>
          </a:solidFill>
          <a:ln>
            <a:solidFill>
              <a:schemeClr val="accent1">
                <a:lumMod val="40000"/>
                <a:lumOff val="60000"/>
              </a:schemeClr>
            </a:solidFill>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t"/>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1" i="0" u="none" strike="noStrike" kern="0" cap="none" spc="0" normalizeH="0" baseline="0" noProof="0">
                <a:effectLst/>
                <a:uLnTx/>
                <a:uFillTx/>
                <a:ea typeface="Arial Unicode MS" pitchFamily="34" charset="-128"/>
                <a:cs typeface="Arial Unicode MS" pitchFamily="34" charset="-128"/>
              </a:rPr>
              <a:t>LoB</a:t>
            </a:r>
          </a:p>
        </p:txBody>
      </p:sp>
      <p:sp>
        <p:nvSpPr>
          <p:cNvPr id="5" name="Title 4">
            <a:extLst>
              <a:ext uri="{FF2B5EF4-FFF2-40B4-BE49-F238E27FC236}">
                <a16:creationId xmlns:a16="http://schemas.microsoft.com/office/drawing/2014/main" id="{A3D23EB8-9721-F641-A2F9-5EB56611251B}"/>
              </a:ext>
            </a:extLst>
          </p:cNvPr>
          <p:cNvSpPr>
            <a:spLocks noGrp="1"/>
          </p:cNvSpPr>
          <p:nvPr>
            <p:ph type="title"/>
          </p:nvPr>
        </p:nvSpPr>
        <p:spPr>
          <a:xfrm>
            <a:off x="504001" y="504000"/>
            <a:ext cx="11186476" cy="369332"/>
          </a:xfrm>
        </p:spPr>
        <p:txBody>
          <a:bodyPr/>
          <a:lstStyle/>
          <a:p>
            <a:r>
              <a:rPr lang="en-US"/>
              <a:t>Unified Gateway </a:t>
            </a:r>
            <a:r>
              <a:rPr lang="en-US" sz="1600"/>
              <a:t>(</a:t>
            </a:r>
            <a:r>
              <a:rPr lang="en-US" sz="1600">
                <a:hlinkClick r:id="rId3"/>
              </a:rPr>
              <a:t>Technology Guidelines 45</a:t>
            </a:r>
            <a:r>
              <a:rPr lang="en-US" sz="1600"/>
              <a:t>)</a:t>
            </a:r>
            <a:endParaRPr lang="en-US"/>
          </a:p>
        </p:txBody>
      </p:sp>
      <p:sp>
        <p:nvSpPr>
          <p:cNvPr id="11" name="Text Placeholder 1">
            <a:extLst>
              <a:ext uri="{FF2B5EF4-FFF2-40B4-BE49-F238E27FC236}">
                <a16:creationId xmlns:a16="http://schemas.microsoft.com/office/drawing/2014/main" id="{5A1ED581-EF9E-CD43-88C7-13E0A460833F}"/>
              </a:ext>
            </a:extLst>
          </p:cNvPr>
          <p:cNvSpPr>
            <a:spLocks noGrp="1"/>
          </p:cNvSpPr>
          <p:nvPr>
            <p:ph type="body" sz="quarter" idx="4294967295"/>
          </p:nvPr>
        </p:nvSpPr>
        <p:spPr>
          <a:xfrm>
            <a:off x="510411" y="2199792"/>
            <a:ext cx="4371975" cy="2124075"/>
          </a:xfrm>
        </p:spPr>
        <p:txBody>
          <a:bodyPr>
            <a:normAutofit/>
          </a:bodyPr>
          <a:lstStyle/>
          <a:p>
            <a:pPr lvl="1"/>
            <a:r>
              <a:rPr lang="en-US" sz="1400"/>
              <a:t>Gradually and incrementally </a:t>
            </a:r>
            <a:r>
              <a:rPr lang="en-US" sz="1400" b="1"/>
              <a:t>offload cross-cutting concerns</a:t>
            </a:r>
            <a:r>
              <a:rPr lang="en-US" sz="1400"/>
              <a:t> to </a:t>
            </a:r>
            <a:r>
              <a:rPr lang="en-US" sz="1400">
                <a:sym typeface="Wingdings" pitchFamily="2" charset="2"/>
              </a:rPr>
              <a:t>increase development efficiency with minor impact on the applications</a:t>
            </a:r>
          </a:p>
          <a:p>
            <a:pPr lvl="1"/>
            <a:r>
              <a:rPr lang="en-US" sz="1400"/>
              <a:t>Assess necessity and the technical implications of tailored and legacy capability (maintain, reimplement or decommission)</a:t>
            </a:r>
          </a:p>
          <a:p>
            <a:pPr lvl="1"/>
            <a:r>
              <a:rPr lang="en-US" sz="1400"/>
              <a:t>Offer and manage harmonized endpoints to ease IES integration and extension (long term goal).</a:t>
            </a:r>
          </a:p>
        </p:txBody>
      </p:sp>
      <p:sp>
        <p:nvSpPr>
          <p:cNvPr id="10" name="Text Placeholder 1">
            <a:extLst>
              <a:ext uri="{FF2B5EF4-FFF2-40B4-BE49-F238E27FC236}">
                <a16:creationId xmlns:a16="http://schemas.microsoft.com/office/drawing/2014/main" id="{27F74996-B810-8C49-9AB0-2F276FD4BDC0}"/>
              </a:ext>
            </a:extLst>
          </p:cNvPr>
          <p:cNvSpPr txBox="1">
            <a:spLocks/>
          </p:cNvSpPr>
          <p:nvPr/>
        </p:nvSpPr>
        <p:spPr bwMode="black">
          <a:xfrm>
            <a:off x="503999" y="4668540"/>
            <a:ext cx="6201601" cy="1844556"/>
          </a:xfrm>
          <a:prstGeom prst="rect">
            <a:avLst/>
          </a:prstGeom>
        </p:spPr>
        <p:txBody>
          <a:bodyPr vert="horz" lIns="0" tIns="0" rIns="0" bIns="0" rtlCol="0">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spcBef>
                <a:spcPts val="600"/>
              </a:spcBef>
            </a:pPr>
            <a:r>
              <a:rPr lang="en-US" sz="1600"/>
              <a:t>While </a:t>
            </a:r>
            <a:r>
              <a:rPr lang="en-US" sz="1400"/>
              <a:t>complying</a:t>
            </a:r>
            <a:r>
              <a:rPr lang="en-US" sz="1600"/>
              <a:t> with the </a:t>
            </a:r>
            <a:r>
              <a:rPr lang="en-US" sz="1600" b="1"/>
              <a:t>SAP CAT-1 Kernel service </a:t>
            </a:r>
            <a:r>
              <a:rPr lang="en-US" sz="1600"/>
              <a:t>qualities:</a:t>
            </a:r>
          </a:p>
          <a:p>
            <a:pPr lvl="1"/>
            <a:r>
              <a:rPr lang="en-US" sz="1400"/>
              <a:t>Co-Deployment to all SAP DCs </a:t>
            </a:r>
          </a:p>
          <a:p>
            <a:pPr lvl="1"/>
            <a:r>
              <a:rPr lang="en-US" sz="1400"/>
              <a:t>Support all SAP platforms (4+1) and DCs (&gt;52)</a:t>
            </a:r>
          </a:p>
          <a:p>
            <a:pPr lvl="1"/>
            <a:r>
              <a:rPr lang="en-US" sz="1400"/>
              <a:t>Superior service SLA </a:t>
            </a:r>
            <a:r>
              <a:rPr lang="en-US" sz="1400" b="1"/>
              <a:t>≥</a:t>
            </a:r>
            <a:r>
              <a:rPr lang="en-US" sz="1400"/>
              <a:t> 99.99% </a:t>
            </a:r>
          </a:p>
          <a:p>
            <a:pPr lvl="1"/>
            <a:r>
              <a:rPr lang="en-US" sz="1400"/>
              <a:t>Low latency (Median 3 </a:t>
            </a:r>
            <a:r>
              <a:rPr lang="en-US" sz="1400" err="1"/>
              <a:t>ms</a:t>
            </a:r>
            <a:r>
              <a:rPr lang="en-US" sz="1400"/>
              <a:t>)</a:t>
            </a:r>
          </a:p>
        </p:txBody>
      </p:sp>
      <p:sp>
        <p:nvSpPr>
          <p:cNvPr id="3" name="Rectangle 2">
            <a:extLst>
              <a:ext uri="{FF2B5EF4-FFF2-40B4-BE49-F238E27FC236}">
                <a16:creationId xmlns:a16="http://schemas.microsoft.com/office/drawing/2014/main" id="{F6E1045B-517F-AF32-7454-313EAC5B1924}"/>
              </a:ext>
            </a:extLst>
          </p:cNvPr>
          <p:cNvSpPr/>
          <p:nvPr/>
        </p:nvSpPr>
        <p:spPr bwMode="gray">
          <a:xfrm>
            <a:off x="5036873" y="2715352"/>
            <a:ext cx="776227" cy="497582"/>
          </a:xfrm>
          <a:prstGeom prst="rect">
            <a:avLst/>
          </a:prstGeom>
          <a:noFill/>
          <a:ln w="127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a:ln>
                  <a:noFill/>
                </a:ln>
                <a:effectLst/>
                <a:uLnTx/>
                <a:uFillTx/>
                <a:ea typeface="Arial Unicode MS" pitchFamily="34" charset="-128"/>
                <a:cs typeface="Arial Unicode MS" pitchFamily="34" charset="-128"/>
              </a:rPr>
              <a:t>Client (Browser/Application)</a:t>
            </a:r>
          </a:p>
        </p:txBody>
      </p:sp>
      <p:sp>
        <p:nvSpPr>
          <p:cNvPr id="4" name="Rectangle 3">
            <a:extLst>
              <a:ext uri="{FF2B5EF4-FFF2-40B4-BE49-F238E27FC236}">
                <a16:creationId xmlns:a16="http://schemas.microsoft.com/office/drawing/2014/main" id="{60046F4E-821D-BE17-8C5B-7234D9BCA909}"/>
              </a:ext>
            </a:extLst>
          </p:cNvPr>
          <p:cNvSpPr/>
          <p:nvPr/>
        </p:nvSpPr>
        <p:spPr bwMode="gray">
          <a:xfrm>
            <a:off x="5103548" y="2771361"/>
            <a:ext cx="776227" cy="497582"/>
          </a:xfrm>
          <a:prstGeom prst="rect">
            <a:avLst/>
          </a:prstGeom>
          <a:solidFill>
            <a:schemeClr val="bg1"/>
          </a:solidFill>
          <a:ln w="127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00" b="0" i="0" u="none" strike="noStrike" kern="0" cap="none" spc="0" normalizeH="0" baseline="0" noProof="0">
                <a:ln>
                  <a:noFill/>
                </a:ln>
                <a:effectLst/>
                <a:uLnTx/>
                <a:uFillTx/>
                <a:ea typeface="Arial Unicode MS" pitchFamily="34" charset="-128"/>
                <a:cs typeface="Arial Unicode MS" pitchFamily="34" charset="-128"/>
              </a:rPr>
              <a:t>Client</a:t>
            </a:r>
          </a:p>
          <a:p>
            <a:pPr marR="0" algn="ctr" defTabSz="914400" eaLnBrk="1" fontAlgn="base" latinLnBrk="0" hangingPunct="1">
              <a:lnSpc>
                <a:spcPct val="100000"/>
              </a:lnSpc>
              <a:spcBef>
                <a:spcPct val="50000"/>
              </a:spcBef>
              <a:spcAft>
                <a:spcPct val="0"/>
              </a:spcAft>
              <a:buClr>
                <a:srgbClr val="F0AB00"/>
              </a:buClr>
              <a:buSzPct val="80000"/>
              <a:tabLst/>
            </a:pPr>
            <a:r>
              <a:rPr kumimoji="0" lang="en-US" sz="800" b="0" i="0" u="none" strike="noStrike" kern="0" cap="none" spc="0" normalizeH="0" baseline="0" noProof="0">
                <a:ln>
                  <a:noFill/>
                </a:ln>
                <a:effectLst/>
                <a:uLnTx/>
                <a:uFillTx/>
                <a:ea typeface="Arial Unicode MS" pitchFamily="34" charset="-128"/>
                <a:cs typeface="Arial Unicode MS" pitchFamily="34" charset="-128"/>
              </a:rPr>
              <a:t>App/Browser</a:t>
            </a:r>
          </a:p>
        </p:txBody>
      </p:sp>
      <p:sp>
        <p:nvSpPr>
          <p:cNvPr id="8" name="Rectangle 7">
            <a:extLst>
              <a:ext uri="{FF2B5EF4-FFF2-40B4-BE49-F238E27FC236}">
                <a16:creationId xmlns:a16="http://schemas.microsoft.com/office/drawing/2014/main" id="{9B3AE8EC-3897-EE40-EE97-643BED317E5D}"/>
              </a:ext>
            </a:extLst>
          </p:cNvPr>
          <p:cNvSpPr/>
          <p:nvPr/>
        </p:nvSpPr>
        <p:spPr bwMode="gray">
          <a:xfrm>
            <a:off x="6639498" y="1781301"/>
            <a:ext cx="2970392" cy="2358492"/>
          </a:xfrm>
          <a:prstGeom prst="rect">
            <a:avLst/>
          </a:prstGeom>
          <a:solidFill>
            <a:srgbClr val="DEEBF7">
              <a:alpha val="85000"/>
            </a:srgbClr>
          </a:solidFill>
          <a:ln>
            <a:solidFill>
              <a:srgbClr val="D4E5F4"/>
            </a:solid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t"/>
          <a:lstStyle/>
          <a:p>
            <a:pPr algn="ctr" defTabSz="914400" fontAlgn="base">
              <a:spcBef>
                <a:spcPct val="50000"/>
              </a:spcBef>
              <a:spcAft>
                <a:spcPct val="0"/>
              </a:spcAft>
              <a:buClr>
                <a:srgbClr val="F0AB00"/>
              </a:buClr>
              <a:buSzPct val="80000"/>
            </a:pPr>
            <a:r>
              <a:rPr lang="en-US" sz="1200" b="1" kern="0">
                <a:ea typeface="Arial Unicode MS" pitchFamily="34" charset="-128"/>
              </a:rPr>
              <a:t>UGW </a:t>
            </a:r>
            <a:r>
              <a:rPr lang="en-US" sz="1200" b="1" kern="0">
                <a:solidFill>
                  <a:schemeClr val="accent3"/>
                </a:solidFill>
                <a:latin typeface="+mj-lt"/>
                <a:ea typeface="Arial Unicode MS" pitchFamily="34" charset="-128"/>
                <a:cs typeface="Arial Unicode MS" pitchFamily="34" charset="-128"/>
                <a:hlinkClick r:id="rId4"/>
              </a:rPr>
              <a:t>TG45</a:t>
            </a:r>
            <a:endParaRPr lang="en-US" sz="1200" b="1" kern="0">
              <a:solidFill>
                <a:schemeClr val="accent3"/>
              </a:solidFill>
              <a:latin typeface="+mj-lt"/>
              <a:ea typeface="Arial Unicode MS" pitchFamily="34" charset="-128"/>
              <a:cs typeface="Arial Unicode MS" pitchFamily="34" charset="-128"/>
            </a:endParaRPr>
          </a:p>
        </p:txBody>
      </p:sp>
      <p:sp>
        <p:nvSpPr>
          <p:cNvPr id="15" name="Rectangle 14">
            <a:extLst>
              <a:ext uri="{FF2B5EF4-FFF2-40B4-BE49-F238E27FC236}">
                <a16:creationId xmlns:a16="http://schemas.microsoft.com/office/drawing/2014/main" id="{14188A67-5A47-2D04-F40F-C40D7CFDFAB3}"/>
              </a:ext>
            </a:extLst>
          </p:cNvPr>
          <p:cNvSpPr/>
          <p:nvPr/>
        </p:nvSpPr>
        <p:spPr bwMode="gray">
          <a:xfrm>
            <a:off x="10147241" y="2201062"/>
            <a:ext cx="1727614" cy="1640976"/>
          </a:xfrm>
          <a:prstGeom prst="rect">
            <a:avLst/>
          </a:prstGeom>
          <a:solidFill>
            <a:schemeClr val="bg1">
              <a:lumMod val="95000"/>
            </a:schemeClr>
          </a:solidFill>
          <a:ln w="1270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a:ln>
                  <a:noFill/>
                </a:ln>
                <a:effectLst/>
                <a:uLnTx/>
                <a:uFillTx/>
                <a:ea typeface="Arial Unicode MS" pitchFamily="34" charset="-128"/>
                <a:cs typeface="Arial Unicode MS" pitchFamily="34" charset="-128"/>
              </a:rPr>
              <a:t>LoB Application  / Service</a:t>
            </a:r>
          </a:p>
        </p:txBody>
      </p:sp>
      <p:sp>
        <p:nvSpPr>
          <p:cNvPr id="21" name="Rectangle 20">
            <a:extLst>
              <a:ext uri="{FF2B5EF4-FFF2-40B4-BE49-F238E27FC236}">
                <a16:creationId xmlns:a16="http://schemas.microsoft.com/office/drawing/2014/main" id="{7B958AED-12C2-8E07-5C2D-8A845BD7019D}"/>
              </a:ext>
            </a:extLst>
          </p:cNvPr>
          <p:cNvSpPr/>
          <p:nvPr/>
        </p:nvSpPr>
        <p:spPr bwMode="gray">
          <a:xfrm>
            <a:off x="7602438" y="2187027"/>
            <a:ext cx="871446" cy="328780"/>
          </a:xfrm>
          <a:prstGeom prst="rect">
            <a:avLst/>
          </a:prstGeom>
          <a:solidFill>
            <a:schemeClr val="bg1">
              <a:lumMod val="95000"/>
            </a:schemeClr>
          </a:solidFill>
          <a:ln>
            <a:solidFill>
              <a:srgbClr val="D4E5F4"/>
            </a:solid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a:ln>
                  <a:noFill/>
                </a:ln>
                <a:effectLst/>
                <a:uLnTx/>
                <a:uFillTx/>
                <a:ea typeface="Arial Unicode MS" pitchFamily="34" charset="-128"/>
                <a:cs typeface="Arial Unicode MS" pitchFamily="34" charset="-128"/>
              </a:rPr>
              <a:t>Routing</a:t>
            </a:r>
          </a:p>
        </p:txBody>
      </p:sp>
      <p:sp>
        <p:nvSpPr>
          <p:cNvPr id="22" name="Rectangle 21">
            <a:extLst>
              <a:ext uri="{FF2B5EF4-FFF2-40B4-BE49-F238E27FC236}">
                <a16:creationId xmlns:a16="http://schemas.microsoft.com/office/drawing/2014/main" id="{C0DDCD84-D6CD-6419-E123-AEADED4ED079}"/>
              </a:ext>
            </a:extLst>
          </p:cNvPr>
          <p:cNvSpPr/>
          <p:nvPr/>
        </p:nvSpPr>
        <p:spPr bwMode="gray">
          <a:xfrm>
            <a:off x="7602437" y="2563595"/>
            <a:ext cx="871446" cy="328780"/>
          </a:xfrm>
          <a:prstGeom prst="rect">
            <a:avLst/>
          </a:prstGeom>
          <a:solidFill>
            <a:schemeClr val="bg1">
              <a:lumMod val="95000"/>
            </a:schemeClr>
          </a:solidFill>
          <a:ln>
            <a:solidFill>
              <a:srgbClr val="D4E5F4"/>
            </a:solid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a:ln>
                  <a:noFill/>
                </a:ln>
                <a:effectLst/>
                <a:uLnTx/>
                <a:uFillTx/>
                <a:ea typeface="Arial Unicode MS" pitchFamily="34" charset="-128"/>
                <a:cs typeface="Arial Unicode MS" pitchFamily="34" charset="-128"/>
              </a:rPr>
              <a:t>Certificate management</a:t>
            </a:r>
          </a:p>
        </p:txBody>
      </p:sp>
      <p:sp>
        <p:nvSpPr>
          <p:cNvPr id="23" name="Rectangle 22">
            <a:extLst>
              <a:ext uri="{FF2B5EF4-FFF2-40B4-BE49-F238E27FC236}">
                <a16:creationId xmlns:a16="http://schemas.microsoft.com/office/drawing/2014/main" id="{31F8D2F2-1FEB-D8F8-059A-1708636585AB}"/>
              </a:ext>
            </a:extLst>
          </p:cNvPr>
          <p:cNvSpPr/>
          <p:nvPr/>
        </p:nvSpPr>
        <p:spPr bwMode="gray">
          <a:xfrm>
            <a:off x="7602438" y="2940163"/>
            <a:ext cx="871446" cy="328780"/>
          </a:xfrm>
          <a:prstGeom prst="rect">
            <a:avLst/>
          </a:prstGeom>
          <a:solidFill>
            <a:schemeClr val="bg1">
              <a:lumMod val="95000"/>
            </a:schemeClr>
          </a:solidFill>
          <a:ln>
            <a:solidFill>
              <a:srgbClr val="D4E5F4"/>
            </a:solid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a:ln>
                  <a:noFill/>
                </a:ln>
                <a:effectLst/>
                <a:uLnTx/>
                <a:uFillTx/>
                <a:ea typeface="Arial Unicode MS" pitchFamily="34" charset="-128"/>
                <a:cs typeface="Arial Unicode MS" pitchFamily="34" charset="-128"/>
              </a:rPr>
              <a:t>API Insights (TG46)</a:t>
            </a:r>
          </a:p>
        </p:txBody>
      </p:sp>
      <p:sp>
        <p:nvSpPr>
          <p:cNvPr id="24" name="Rectangle 23">
            <a:extLst>
              <a:ext uri="{FF2B5EF4-FFF2-40B4-BE49-F238E27FC236}">
                <a16:creationId xmlns:a16="http://schemas.microsoft.com/office/drawing/2014/main" id="{5A95DEEC-79CE-92D2-A7FD-15FD0DD8185C}"/>
              </a:ext>
            </a:extLst>
          </p:cNvPr>
          <p:cNvSpPr/>
          <p:nvPr/>
        </p:nvSpPr>
        <p:spPr bwMode="gray">
          <a:xfrm>
            <a:off x="7602437" y="3316731"/>
            <a:ext cx="871446" cy="328780"/>
          </a:xfrm>
          <a:prstGeom prst="rect">
            <a:avLst/>
          </a:prstGeom>
          <a:solidFill>
            <a:schemeClr val="bg1">
              <a:lumMod val="95000"/>
            </a:schemeClr>
          </a:solidFill>
          <a:ln>
            <a:solidFill>
              <a:srgbClr val="D4E5F4"/>
            </a:solid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algn="ctr" defTabSz="914400" fontAlgn="base">
              <a:spcBef>
                <a:spcPct val="50000"/>
              </a:spcBef>
              <a:spcAft>
                <a:spcPct val="0"/>
              </a:spcAft>
              <a:buClr>
                <a:srgbClr val="F0AB00"/>
              </a:buClr>
              <a:buSzPct val="80000"/>
            </a:pPr>
            <a:r>
              <a:rPr kumimoji="0" lang="en-US" sz="900" b="0" i="0" u="none" strike="noStrike" kern="0" cap="none" spc="0" normalizeH="0" baseline="0" noProof="0">
                <a:ln>
                  <a:noFill/>
                </a:ln>
                <a:effectLst/>
                <a:uLnTx/>
                <a:uFillTx/>
                <a:ea typeface="Arial Unicode MS" pitchFamily="34" charset="-128"/>
                <a:cs typeface="Arial Unicode MS" pitchFamily="34" charset="-128"/>
              </a:rPr>
              <a:t>Rate limit</a:t>
            </a:r>
          </a:p>
        </p:txBody>
      </p:sp>
      <p:sp>
        <p:nvSpPr>
          <p:cNvPr id="25" name="Rectangle 24">
            <a:extLst>
              <a:ext uri="{FF2B5EF4-FFF2-40B4-BE49-F238E27FC236}">
                <a16:creationId xmlns:a16="http://schemas.microsoft.com/office/drawing/2014/main" id="{A47C74EF-6DBA-1B42-24A5-77B048D762DE}"/>
              </a:ext>
            </a:extLst>
          </p:cNvPr>
          <p:cNvSpPr/>
          <p:nvPr/>
        </p:nvSpPr>
        <p:spPr bwMode="gray">
          <a:xfrm>
            <a:off x="7602437" y="3693299"/>
            <a:ext cx="871446" cy="328780"/>
          </a:xfrm>
          <a:prstGeom prst="rect">
            <a:avLst/>
          </a:prstGeom>
          <a:solidFill>
            <a:schemeClr val="bg1">
              <a:lumMod val="95000"/>
            </a:schemeClr>
          </a:solidFill>
          <a:ln>
            <a:solidFill>
              <a:srgbClr val="D4E5F4"/>
            </a:solid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a:ln>
                  <a:noFill/>
                </a:ln>
                <a:effectLst/>
                <a:uLnTx/>
                <a:uFillTx/>
                <a:ea typeface="Arial Unicode MS" pitchFamily="34" charset="-128"/>
                <a:cs typeface="Arial Unicode MS" pitchFamily="34" charset="-128"/>
              </a:rPr>
              <a:t>IP Geo-Blocking</a:t>
            </a:r>
          </a:p>
        </p:txBody>
      </p:sp>
      <p:sp>
        <p:nvSpPr>
          <p:cNvPr id="26" name="Rectangle 25">
            <a:extLst>
              <a:ext uri="{FF2B5EF4-FFF2-40B4-BE49-F238E27FC236}">
                <a16:creationId xmlns:a16="http://schemas.microsoft.com/office/drawing/2014/main" id="{34BE97B8-07C3-8557-4134-74855BCF67C7}"/>
              </a:ext>
            </a:extLst>
          </p:cNvPr>
          <p:cNvSpPr/>
          <p:nvPr/>
        </p:nvSpPr>
        <p:spPr bwMode="gray">
          <a:xfrm>
            <a:off x="8681976" y="2187027"/>
            <a:ext cx="871446" cy="328780"/>
          </a:xfrm>
          <a:prstGeom prst="rect">
            <a:avLst/>
          </a:prstGeom>
          <a:solidFill>
            <a:schemeClr val="bg1">
              <a:lumMod val="95000"/>
            </a:schemeClr>
          </a:solidFill>
          <a:ln>
            <a:solidFill>
              <a:srgbClr val="D4E5F4"/>
            </a:solid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a:ln>
                  <a:noFill/>
                </a:ln>
                <a:effectLst/>
                <a:uLnTx/>
                <a:uFillTx/>
                <a:ea typeface="Arial Unicode MS" pitchFamily="34" charset="-128"/>
                <a:cs typeface="Arial Unicode MS" pitchFamily="34" charset="-128"/>
              </a:rPr>
              <a:t>JWT Validation</a:t>
            </a:r>
          </a:p>
        </p:txBody>
      </p:sp>
      <p:sp>
        <p:nvSpPr>
          <p:cNvPr id="27" name="Rectangle 26">
            <a:extLst>
              <a:ext uri="{FF2B5EF4-FFF2-40B4-BE49-F238E27FC236}">
                <a16:creationId xmlns:a16="http://schemas.microsoft.com/office/drawing/2014/main" id="{38E2A11A-5710-1294-487D-DA17880DD42C}"/>
              </a:ext>
            </a:extLst>
          </p:cNvPr>
          <p:cNvSpPr/>
          <p:nvPr/>
        </p:nvSpPr>
        <p:spPr bwMode="gray">
          <a:xfrm>
            <a:off x="8681974" y="2585163"/>
            <a:ext cx="871446" cy="328780"/>
          </a:xfrm>
          <a:prstGeom prst="rect">
            <a:avLst/>
          </a:prstGeom>
          <a:solidFill>
            <a:schemeClr val="bg1">
              <a:lumMod val="95000"/>
            </a:schemeClr>
          </a:solidFill>
          <a:ln>
            <a:solidFill>
              <a:srgbClr val="D4E5F4"/>
            </a:solid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algn="ctr" defTabSz="914400" fontAlgn="base">
              <a:spcBef>
                <a:spcPct val="50000"/>
              </a:spcBef>
              <a:spcAft>
                <a:spcPct val="0"/>
              </a:spcAft>
              <a:buClr>
                <a:srgbClr val="F0AB00"/>
              </a:buClr>
              <a:buSzPct val="80000"/>
            </a:pPr>
            <a:r>
              <a:rPr lang="en-US" sz="900" kern="0">
                <a:ea typeface="Arial Unicode MS" pitchFamily="34" charset="-128"/>
                <a:cs typeface="Arial Unicode MS" pitchFamily="34" charset="-128"/>
              </a:rPr>
              <a:t>DNS management</a:t>
            </a:r>
            <a:endParaRPr kumimoji="0" lang="en-US" sz="900" b="0" i="0" u="none" strike="noStrike" kern="0" cap="none" spc="0" normalizeH="0" baseline="0" noProof="0">
              <a:ln>
                <a:noFill/>
              </a:ln>
              <a:solidFill>
                <a:schemeClr val="tx2"/>
              </a:solidFill>
              <a:effectLst/>
              <a:uLnTx/>
              <a:uFillTx/>
              <a:ea typeface="Arial Unicode MS" pitchFamily="34" charset="-128"/>
              <a:cs typeface="Arial Unicode MS" pitchFamily="34" charset="-128"/>
            </a:endParaRPr>
          </a:p>
        </p:txBody>
      </p:sp>
      <p:sp>
        <p:nvSpPr>
          <p:cNvPr id="28" name="Rectangle 27">
            <a:extLst>
              <a:ext uri="{FF2B5EF4-FFF2-40B4-BE49-F238E27FC236}">
                <a16:creationId xmlns:a16="http://schemas.microsoft.com/office/drawing/2014/main" id="{E77394F5-FC29-1623-CC55-25DEDB3DAB04}"/>
              </a:ext>
            </a:extLst>
          </p:cNvPr>
          <p:cNvSpPr/>
          <p:nvPr/>
        </p:nvSpPr>
        <p:spPr bwMode="gray">
          <a:xfrm>
            <a:off x="8681975" y="2961731"/>
            <a:ext cx="871446" cy="328780"/>
          </a:xfrm>
          <a:prstGeom prst="rect">
            <a:avLst/>
          </a:prstGeom>
          <a:solidFill>
            <a:schemeClr val="bg1">
              <a:lumMod val="95000"/>
            </a:schemeClr>
          </a:solidFill>
          <a:ln>
            <a:solidFill>
              <a:srgbClr val="D4E5F4"/>
            </a:solid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a:ln>
                  <a:noFill/>
                </a:ln>
                <a:solidFill>
                  <a:schemeClr val="tx2"/>
                </a:solidFill>
                <a:effectLst/>
                <a:uLnTx/>
                <a:uFillTx/>
                <a:ea typeface="Arial Unicode MS" pitchFamily="34" charset="-128"/>
                <a:cs typeface="Arial Unicode MS" pitchFamily="34" charset="-128"/>
              </a:rPr>
              <a:t>Distributed Tracing </a:t>
            </a:r>
          </a:p>
        </p:txBody>
      </p:sp>
      <p:sp>
        <p:nvSpPr>
          <p:cNvPr id="29" name="Rectangle 28">
            <a:extLst>
              <a:ext uri="{FF2B5EF4-FFF2-40B4-BE49-F238E27FC236}">
                <a16:creationId xmlns:a16="http://schemas.microsoft.com/office/drawing/2014/main" id="{832EB782-02C7-B762-95F7-29A50AABDE8D}"/>
              </a:ext>
            </a:extLst>
          </p:cNvPr>
          <p:cNvSpPr/>
          <p:nvPr/>
        </p:nvSpPr>
        <p:spPr bwMode="gray">
          <a:xfrm>
            <a:off x="8681974" y="3338299"/>
            <a:ext cx="871446" cy="328780"/>
          </a:xfrm>
          <a:prstGeom prst="rect">
            <a:avLst/>
          </a:prstGeom>
          <a:solidFill>
            <a:schemeClr val="bg1">
              <a:lumMod val="95000"/>
            </a:schemeClr>
          </a:solidFill>
          <a:ln>
            <a:solidFill>
              <a:srgbClr val="D4E5F4"/>
            </a:solid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algn="ctr" defTabSz="914400" fontAlgn="base">
              <a:spcBef>
                <a:spcPct val="50000"/>
              </a:spcBef>
              <a:spcAft>
                <a:spcPct val="0"/>
              </a:spcAft>
              <a:buClr>
                <a:srgbClr val="F0AB00"/>
              </a:buClr>
              <a:buSzPct val="80000"/>
            </a:pPr>
            <a:r>
              <a:rPr kumimoji="0" lang="en-US" sz="900" b="0" i="0" u="none" strike="noStrike" kern="0" cap="none" spc="0" normalizeH="0" baseline="0" noProof="0">
                <a:ln>
                  <a:noFill/>
                </a:ln>
                <a:solidFill>
                  <a:schemeClr val="tx2"/>
                </a:solidFill>
                <a:effectLst/>
                <a:uLnTx/>
                <a:uFillTx/>
                <a:ea typeface="Arial Unicode MS" pitchFamily="34" charset="-128"/>
                <a:cs typeface="Arial Unicode MS" pitchFamily="34" charset="-128"/>
              </a:rPr>
              <a:t>WAF</a:t>
            </a:r>
          </a:p>
        </p:txBody>
      </p:sp>
      <p:sp>
        <p:nvSpPr>
          <p:cNvPr id="30" name="Rectangle 29">
            <a:extLst>
              <a:ext uri="{FF2B5EF4-FFF2-40B4-BE49-F238E27FC236}">
                <a16:creationId xmlns:a16="http://schemas.microsoft.com/office/drawing/2014/main" id="{B4FA14BE-4EEC-42DA-052E-F4A5E29E71F6}"/>
              </a:ext>
            </a:extLst>
          </p:cNvPr>
          <p:cNvSpPr/>
          <p:nvPr/>
        </p:nvSpPr>
        <p:spPr bwMode="gray">
          <a:xfrm>
            <a:off x="8681974" y="3714867"/>
            <a:ext cx="871446" cy="328780"/>
          </a:xfrm>
          <a:prstGeom prst="rect">
            <a:avLst/>
          </a:prstGeom>
          <a:solidFill>
            <a:schemeClr val="bg1">
              <a:lumMod val="95000"/>
            </a:schemeClr>
          </a:solidFill>
          <a:ln>
            <a:solidFill>
              <a:srgbClr val="D4E5F4"/>
            </a:solid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a:ln>
                  <a:noFill/>
                </a:ln>
                <a:effectLst/>
                <a:uLnTx/>
                <a:uFillTx/>
                <a:ea typeface="Arial Unicode MS" pitchFamily="34" charset="-128"/>
                <a:cs typeface="Arial Unicode MS" pitchFamily="34" charset="-128"/>
              </a:rPr>
              <a:t>And more...</a:t>
            </a:r>
          </a:p>
        </p:txBody>
      </p:sp>
      <p:cxnSp>
        <p:nvCxnSpPr>
          <p:cNvPr id="39" name="Straight Arrow Connector 38">
            <a:extLst>
              <a:ext uri="{FF2B5EF4-FFF2-40B4-BE49-F238E27FC236}">
                <a16:creationId xmlns:a16="http://schemas.microsoft.com/office/drawing/2014/main" id="{09793D44-4198-2D0A-B704-DE43AC41799D}"/>
              </a:ext>
            </a:extLst>
          </p:cNvPr>
          <p:cNvCxnSpPr>
            <a:cxnSpLocks/>
          </p:cNvCxnSpPr>
          <p:nvPr/>
        </p:nvCxnSpPr>
        <p:spPr>
          <a:xfrm>
            <a:off x="5879775" y="3022762"/>
            <a:ext cx="711547" cy="0"/>
          </a:xfrm>
          <a:prstGeom prst="straightConnector1">
            <a:avLst/>
          </a:prstGeom>
          <a:ln w="127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6F624BDF-9CA6-73D9-88E6-CF7420733077}"/>
              </a:ext>
            </a:extLst>
          </p:cNvPr>
          <p:cNvCxnSpPr>
            <a:cxnSpLocks/>
          </p:cNvCxnSpPr>
          <p:nvPr/>
        </p:nvCxnSpPr>
        <p:spPr>
          <a:xfrm>
            <a:off x="9620436" y="3025371"/>
            <a:ext cx="252000" cy="0"/>
          </a:xfrm>
          <a:prstGeom prst="straightConnector1">
            <a:avLst/>
          </a:prstGeom>
          <a:ln w="127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D25935ED-1720-CA2C-0232-44B5200C5634}"/>
              </a:ext>
            </a:extLst>
          </p:cNvPr>
          <p:cNvSpPr/>
          <p:nvPr/>
        </p:nvSpPr>
        <p:spPr bwMode="gray">
          <a:xfrm>
            <a:off x="5812590" y="2727220"/>
            <a:ext cx="785187" cy="310166"/>
          </a:xfrm>
          <a:prstGeom prst="rect">
            <a:avLst/>
          </a:prstGeom>
          <a:noFill/>
          <a:ln>
            <a:no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a:ln>
                  <a:noFill/>
                </a:ln>
                <a:effectLst/>
                <a:uLnTx/>
                <a:uFillTx/>
                <a:ea typeface="Arial Unicode MS" pitchFamily="34" charset="-128"/>
                <a:cs typeface="Arial Unicode MS" pitchFamily="34" charset="-128"/>
              </a:rPr>
              <a:t>Ingress </a:t>
            </a:r>
            <a:br>
              <a:rPr kumimoji="0" lang="en-US" sz="900" b="0" i="0" u="none" strike="noStrike" kern="0" cap="none" spc="0" normalizeH="0" baseline="0" noProof="0">
                <a:ln>
                  <a:noFill/>
                </a:ln>
                <a:effectLst/>
                <a:uLnTx/>
                <a:uFillTx/>
                <a:ea typeface="Arial Unicode MS" pitchFamily="34" charset="-128"/>
                <a:cs typeface="Arial Unicode MS" pitchFamily="34" charset="-128"/>
              </a:rPr>
            </a:br>
            <a:r>
              <a:rPr kumimoji="0" lang="en-US" sz="900" b="0" i="0" u="none" strike="noStrike" kern="0" cap="none" spc="0" normalizeH="0" baseline="0" noProof="0">
                <a:ln>
                  <a:noFill/>
                </a:ln>
                <a:effectLst/>
                <a:uLnTx/>
                <a:uFillTx/>
                <a:ea typeface="Arial Unicode MS" pitchFamily="34" charset="-128"/>
                <a:cs typeface="Arial Unicode MS" pitchFamily="34" charset="-128"/>
              </a:rPr>
              <a:t>http traffic</a:t>
            </a:r>
          </a:p>
        </p:txBody>
      </p:sp>
      <p:sp>
        <p:nvSpPr>
          <p:cNvPr id="47" name="Arrow: U-Turn 46">
            <a:extLst>
              <a:ext uri="{FF2B5EF4-FFF2-40B4-BE49-F238E27FC236}">
                <a16:creationId xmlns:a16="http://schemas.microsoft.com/office/drawing/2014/main" id="{12D428A4-BECE-9DF2-F03B-A4756D6222A5}"/>
              </a:ext>
            </a:extLst>
          </p:cNvPr>
          <p:cNvSpPr/>
          <p:nvPr/>
        </p:nvSpPr>
        <p:spPr bwMode="gray">
          <a:xfrm rot="10800000">
            <a:off x="8373000" y="3848684"/>
            <a:ext cx="2166443" cy="652986"/>
          </a:xfrm>
          <a:prstGeom prst="uturnArrow">
            <a:avLst>
              <a:gd name="adj1" fmla="val 20714"/>
              <a:gd name="adj2" fmla="val 18244"/>
              <a:gd name="adj3" fmla="val 17687"/>
              <a:gd name="adj4" fmla="val 16312"/>
              <a:gd name="adj5" fmla="val 54410"/>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54" name="TextBox 53">
            <a:extLst>
              <a:ext uri="{FF2B5EF4-FFF2-40B4-BE49-F238E27FC236}">
                <a16:creationId xmlns:a16="http://schemas.microsoft.com/office/drawing/2014/main" id="{FB594C46-CA05-94A8-3D8B-A777EF84DB91}"/>
              </a:ext>
            </a:extLst>
          </p:cNvPr>
          <p:cNvSpPr txBox="1"/>
          <p:nvPr/>
        </p:nvSpPr>
        <p:spPr>
          <a:xfrm>
            <a:off x="8384937" y="4323867"/>
            <a:ext cx="2166441" cy="230832"/>
          </a:xfrm>
          <a:prstGeom prst="rect">
            <a:avLst/>
          </a:prstGeom>
          <a:noFill/>
        </p:spPr>
        <p:txBody>
          <a:bodyPr wrap="square">
            <a:spAutoFit/>
          </a:bodyPr>
          <a:lstStyle/>
          <a:p>
            <a:pPr algn="ctr"/>
            <a:r>
              <a:rPr lang="en-US" sz="900"/>
              <a:t>Offloading cross cutting concerns </a:t>
            </a:r>
          </a:p>
        </p:txBody>
      </p:sp>
      <p:sp>
        <p:nvSpPr>
          <p:cNvPr id="72" name="TextBox 71">
            <a:extLst>
              <a:ext uri="{FF2B5EF4-FFF2-40B4-BE49-F238E27FC236}">
                <a16:creationId xmlns:a16="http://schemas.microsoft.com/office/drawing/2014/main" id="{9122DDA5-D45D-C693-CF4C-A823DE4A02DD}"/>
              </a:ext>
            </a:extLst>
          </p:cNvPr>
          <p:cNvSpPr txBox="1"/>
          <p:nvPr/>
        </p:nvSpPr>
        <p:spPr>
          <a:xfrm>
            <a:off x="503999" y="1495495"/>
            <a:ext cx="5889029" cy="497582"/>
          </a:xfrm>
          <a:prstGeom prst="rect">
            <a:avLst/>
          </a:prstGeom>
        </p:spPr>
        <p:txBody>
          <a:bodyPr vert="horz" lIns="0" tIns="0" rIns="0" bIns="0" rtlCol="0">
            <a:normAutofit fontScale="92500"/>
          </a:bodyPr>
          <a:lstStyle>
            <a:lvl1pPr indent="0" defTabSz="1088558">
              <a:spcBef>
                <a:spcPts val="1800"/>
              </a:spcBef>
              <a:buClr>
                <a:schemeClr val="accent1"/>
              </a:buClr>
              <a:buSzPct val="80000"/>
              <a:buFontTx/>
              <a:buNone/>
              <a:defRPr sz="2000" b="0">
                <a:latin typeface="+mn-lt"/>
              </a:defRPr>
            </a:lvl1pPr>
            <a:lvl2pPr marL="179964" lvl="1" indent="-179964" defTabSz="1088558">
              <a:spcBef>
                <a:spcPts val="600"/>
              </a:spcBef>
              <a:buClr>
                <a:schemeClr val="accent1"/>
              </a:buClr>
              <a:buFont typeface="Wingdings" pitchFamily="2" charset="2"/>
              <a:buChar char="§"/>
              <a:defRPr sz="1400">
                <a:latin typeface="+mn-lt"/>
              </a:defRPr>
            </a:lvl2pPr>
            <a:lvl3pPr marL="358775" indent="-179388" defTabSz="1088558">
              <a:spcBef>
                <a:spcPts val="300"/>
              </a:spcBef>
              <a:buClr>
                <a:schemeClr val="tx1"/>
              </a:buClr>
              <a:buSzPct val="100000"/>
              <a:buFont typeface="Arial" panose="020B0604020202020204" pitchFamily="34" charset="0"/>
              <a:buChar char="–"/>
              <a:defRPr lang="en-US" sz="1800" noProof="0" dirty="0" smtClean="0">
                <a:latin typeface="+mn-lt"/>
              </a:defRPr>
            </a:lvl3pPr>
            <a:lvl4pPr marL="539892" indent="-179964" defTabSz="1088558">
              <a:spcBef>
                <a:spcPts val="300"/>
              </a:spcBef>
              <a:buClr>
                <a:schemeClr val="tx1"/>
              </a:buClr>
              <a:buSzPct val="120000"/>
              <a:buFont typeface="Arial" pitchFamily="34" charset="0"/>
              <a:buChar char="▫"/>
              <a:defRPr sz="1600">
                <a:latin typeface="+mn-lt"/>
              </a:defRPr>
            </a:lvl4pPr>
            <a:lvl5pPr marL="719856" indent="-179964" defTabSz="1088558">
              <a:spcBef>
                <a:spcPts val="100"/>
              </a:spcBef>
              <a:buClr>
                <a:schemeClr val="tx1"/>
              </a:buClr>
              <a:buSzPct val="100000"/>
              <a:buFont typeface="Symbol" panose="05050102010706020507" pitchFamily="18" charset="2"/>
              <a:buChar char="-"/>
              <a:defRPr sz="1400" baseline="0">
                <a:latin typeface="+mn-lt"/>
              </a:defRPr>
            </a:lvl5pPr>
            <a:lvl6pPr marL="2993535" indent="-272140" defTabSz="1088558">
              <a:spcBef>
                <a:spcPct val="20000"/>
              </a:spcBef>
              <a:buFont typeface="Arial" pitchFamily="34" charset="0"/>
              <a:buChar char="•"/>
              <a:defRPr sz="2400"/>
            </a:lvl6pPr>
            <a:lvl7pPr marL="3537814" indent="-272140" defTabSz="1088558">
              <a:spcBef>
                <a:spcPct val="20000"/>
              </a:spcBef>
              <a:buFont typeface="Arial" pitchFamily="34" charset="0"/>
              <a:buChar char="•"/>
              <a:defRPr sz="2400"/>
            </a:lvl7pPr>
            <a:lvl8pPr marL="4082093" indent="-272140" defTabSz="1088558">
              <a:spcBef>
                <a:spcPct val="20000"/>
              </a:spcBef>
              <a:buFont typeface="Arial" pitchFamily="34" charset="0"/>
              <a:buChar char="•"/>
              <a:defRPr sz="2400"/>
            </a:lvl8pPr>
            <a:lvl9pPr marL="4626373" indent="-272140" defTabSz="1088558">
              <a:spcBef>
                <a:spcPct val="20000"/>
              </a:spcBef>
              <a:buFont typeface="Arial" pitchFamily="34" charset="0"/>
              <a:buChar char="•"/>
              <a:defRPr sz="2400"/>
            </a:lvl9pPr>
          </a:lstStyle>
          <a:p>
            <a:r>
              <a:rPr lang="en-US" sz="1600" b="1"/>
              <a:t>Establish an SAP centrally managed, globally distributed ingress layer that acts as entry point to all SAP cloud solutions.</a:t>
            </a:r>
          </a:p>
        </p:txBody>
      </p:sp>
      <p:sp>
        <p:nvSpPr>
          <p:cNvPr id="75" name="Text Placeholder 1">
            <a:extLst>
              <a:ext uri="{FF2B5EF4-FFF2-40B4-BE49-F238E27FC236}">
                <a16:creationId xmlns:a16="http://schemas.microsoft.com/office/drawing/2014/main" id="{95C20AC2-78F2-B60E-FE4E-94F22BCC9148}"/>
              </a:ext>
            </a:extLst>
          </p:cNvPr>
          <p:cNvSpPr txBox="1">
            <a:spLocks/>
          </p:cNvSpPr>
          <p:nvPr/>
        </p:nvSpPr>
        <p:spPr bwMode="black">
          <a:xfrm>
            <a:off x="4910497" y="4981294"/>
            <a:ext cx="5189267" cy="1352815"/>
          </a:xfrm>
          <a:prstGeom prst="rect">
            <a:avLst/>
          </a:prstGeom>
        </p:spPr>
        <p:txBody>
          <a:bodyPr vert="horz" lIns="0" tIns="0" rIns="0" bIns="0" rtlCol="0">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1"/>
            <a:r>
              <a:rPr lang="en-US" sz="1400"/>
              <a:t>Elasticity to support LOB needs</a:t>
            </a:r>
          </a:p>
          <a:p>
            <a:pPr lvl="1"/>
            <a:r>
              <a:rPr lang="en-US" sz="1400"/>
              <a:t>Low and optimized TCO</a:t>
            </a:r>
          </a:p>
          <a:p>
            <a:pPr lvl="1"/>
            <a:r>
              <a:rPr lang="en-US" sz="1400"/>
              <a:t>Decoupled Life cycle from LOB’s</a:t>
            </a:r>
          </a:p>
          <a:p>
            <a:pPr lvl="1"/>
            <a:r>
              <a:rPr lang="en-US" sz="1400"/>
              <a:t>Comply to ALL SAP supported certifications and regulations (PCI, ISO/SOC, FIPS, EU, MENA, etc.)</a:t>
            </a:r>
          </a:p>
        </p:txBody>
      </p:sp>
      <p:sp>
        <p:nvSpPr>
          <p:cNvPr id="2" name="Rectangle 1">
            <a:extLst>
              <a:ext uri="{FF2B5EF4-FFF2-40B4-BE49-F238E27FC236}">
                <a16:creationId xmlns:a16="http://schemas.microsoft.com/office/drawing/2014/main" id="{80788DED-35C0-1F46-0F98-10CD699BA099}"/>
              </a:ext>
            </a:extLst>
          </p:cNvPr>
          <p:cNvSpPr/>
          <p:nvPr/>
        </p:nvSpPr>
        <p:spPr bwMode="gray">
          <a:xfrm>
            <a:off x="6705600" y="2358962"/>
            <a:ext cx="648000" cy="337759"/>
          </a:xfrm>
          <a:prstGeom prst="rect">
            <a:avLst/>
          </a:prstGeom>
          <a:solidFill>
            <a:schemeClr val="bg1">
              <a:lumMod val="95000"/>
            </a:schemeClr>
          </a:solidFill>
          <a:ln>
            <a:solidFill>
              <a:srgbClr val="D4E5F4"/>
            </a:solid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algn="ctr" defTabSz="914400" fontAlgn="base">
              <a:spcBef>
                <a:spcPct val="50000"/>
              </a:spcBef>
              <a:spcAft>
                <a:spcPct val="0"/>
              </a:spcAft>
              <a:buClr>
                <a:srgbClr val="F0AB00"/>
              </a:buClr>
              <a:buSzPct val="80000"/>
            </a:pPr>
            <a:r>
              <a:rPr lang="en-US" sz="900" kern="0">
                <a:ea typeface="Arial Unicode MS" pitchFamily="34" charset="-128"/>
              </a:rPr>
              <a:t>DNS</a:t>
            </a:r>
          </a:p>
        </p:txBody>
      </p:sp>
      <p:sp>
        <p:nvSpPr>
          <p:cNvPr id="18" name="Rectangle 17">
            <a:extLst>
              <a:ext uri="{FF2B5EF4-FFF2-40B4-BE49-F238E27FC236}">
                <a16:creationId xmlns:a16="http://schemas.microsoft.com/office/drawing/2014/main" id="{26A169C4-D6BE-3C93-0C40-52B2A25132AC}"/>
              </a:ext>
            </a:extLst>
          </p:cNvPr>
          <p:cNvSpPr/>
          <p:nvPr/>
        </p:nvSpPr>
        <p:spPr bwMode="gray">
          <a:xfrm>
            <a:off x="6705600" y="2859915"/>
            <a:ext cx="648000" cy="337759"/>
          </a:xfrm>
          <a:prstGeom prst="rect">
            <a:avLst/>
          </a:prstGeom>
          <a:solidFill>
            <a:schemeClr val="bg1">
              <a:lumMod val="95000"/>
            </a:schemeClr>
          </a:solidFill>
          <a:ln>
            <a:solidFill>
              <a:srgbClr val="D4E5F4"/>
            </a:solid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algn="ctr" defTabSz="914400" fontAlgn="base">
              <a:spcBef>
                <a:spcPct val="50000"/>
              </a:spcBef>
              <a:spcAft>
                <a:spcPct val="0"/>
              </a:spcAft>
              <a:buClr>
                <a:srgbClr val="F0AB00"/>
              </a:buClr>
              <a:buSzPct val="80000"/>
            </a:pPr>
            <a:r>
              <a:rPr lang="en-US" sz="900" kern="0">
                <a:solidFill>
                  <a:schemeClr val="tx2"/>
                </a:solidFill>
                <a:ea typeface="Arial Unicode MS" pitchFamily="34" charset="-128"/>
              </a:rPr>
              <a:t>CDN</a:t>
            </a:r>
          </a:p>
        </p:txBody>
      </p:sp>
      <p:sp>
        <p:nvSpPr>
          <p:cNvPr id="19" name="Rectangle 18">
            <a:extLst>
              <a:ext uri="{FF2B5EF4-FFF2-40B4-BE49-F238E27FC236}">
                <a16:creationId xmlns:a16="http://schemas.microsoft.com/office/drawing/2014/main" id="{D0E5C197-755F-294F-C393-2EBDA58C2940}"/>
              </a:ext>
            </a:extLst>
          </p:cNvPr>
          <p:cNvSpPr/>
          <p:nvPr/>
        </p:nvSpPr>
        <p:spPr bwMode="gray">
          <a:xfrm>
            <a:off x="6705600" y="3393972"/>
            <a:ext cx="648000" cy="337759"/>
          </a:xfrm>
          <a:prstGeom prst="rect">
            <a:avLst/>
          </a:prstGeom>
          <a:solidFill>
            <a:schemeClr val="bg1">
              <a:lumMod val="95000"/>
            </a:schemeClr>
          </a:solidFill>
          <a:ln>
            <a:solidFill>
              <a:srgbClr val="D4E5F4"/>
            </a:solid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algn="ctr" defTabSz="914400" fontAlgn="base">
              <a:spcBef>
                <a:spcPct val="50000"/>
              </a:spcBef>
              <a:spcAft>
                <a:spcPct val="0"/>
              </a:spcAft>
              <a:buClr>
                <a:srgbClr val="F0AB00"/>
              </a:buClr>
              <a:buSzPct val="80000"/>
            </a:pPr>
            <a:r>
              <a:rPr lang="en-US" sz="800" kern="0">
                <a:ea typeface="Arial Unicode MS" pitchFamily="34" charset="-128"/>
              </a:rPr>
              <a:t>Certificate</a:t>
            </a:r>
            <a:br>
              <a:rPr lang="en-US" sz="800" kern="0">
                <a:ea typeface="Arial Unicode MS" pitchFamily="34" charset="-128"/>
              </a:rPr>
            </a:br>
            <a:r>
              <a:rPr lang="en-US" sz="800" kern="0">
                <a:ea typeface="Arial Unicode MS" pitchFamily="34" charset="-128"/>
              </a:rPr>
              <a:t>Authority </a:t>
            </a:r>
          </a:p>
        </p:txBody>
      </p:sp>
    </p:spTree>
    <p:extLst>
      <p:ext uri="{BB962C8B-B14F-4D97-AF65-F5344CB8AC3E}">
        <p14:creationId xmlns:p14="http://schemas.microsoft.com/office/powerpoint/2010/main" val="25176939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B7743EC3-44A9-E6E8-647B-306BCE0E0A02}"/>
              </a:ext>
            </a:extLst>
          </p:cNvPr>
          <p:cNvSpPr>
            <a:spLocks noGrp="1"/>
          </p:cNvSpPr>
          <p:nvPr>
            <p:ph type="body" sz="quarter" idx="11"/>
          </p:nvPr>
        </p:nvSpPr>
        <p:spPr>
          <a:xfrm>
            <a:off x="6503436" y="1620000"/>
            <a:ext cx="5400239" cy="2130906"/>
          </a:xfrm>
        </p:spPr>
        <p:txBody>
          <a:bodyPr/>
          <a:lstStyle/>
          <a:p>
            <a:pPr lvl="1"/>
            <a:r>
              <a:rPr lang="en-US"/>
              <a:t>It served more than 160 Million productive HTTP request in the last 7 days (&gt;600 Million per month). </a:t>
            </a:r>
          </a:p>
          <a:p>
            <a:pPr lvl="1"/>
            <a:r>
              <a:rPr lang="en-US"/>
              <a:t>Healthy adoption pipeline including various </a:t>
            </a:r>
            <a:r>
              <a:rPr lang="en-US" err="1"/>
              <a:t>LoBs</a:t>
            </a:r>
            <a:r>
              <a:rPr lang="en-US"/>
              <a:t> cloud solutions, such as CX/FSM, One Procurement, S/4 Cloud ERP </a:t>
            </a:r>
          </a:p>
          <a:p>
            <a:pPr lvl="1"/>
            <a:r>
              <a:rPr lang="en-US"/>
              <a:t>It is ISO, SOC and PCI DSS Certified service</a:t>
            </a:r>
          </a:p>
          <a:p>
            <a:pPr marL="0" lvl="1" indent="0">
              <a:buNone/>
            </a:pPr>
            <a:endParaRPr lang="en-US"/>
          </a:p>
          <a:p>
            <a:endParaRPr lang="en-IL"/>
          </a:p>
        </p:txBody>
      </p:sp>
      <p:sp>
        <p:nvSpPr>
          <p:cNvPr id="9" name="Text Placeholder 8">
            <a:extLst>
              <a:ext uri="{FF2B5EF4-FFF2-40B4-BE49-F238E27FC236}">
                <a16:creationId xmlns:a16="http://schemas.microsoft.com/office/drawing/2014/main" id="{D961A4A8-26A1-2664-447E-DE369BFE6C43}"/>
              </a:ext>
            </a:extLst>
          </p:cNvPr>
          <p:cNvSpPr>
            <a:spLocks noGrp="1"/>
          </p:cNvSpPr>
          <p:nvPr>
            <p:ph type="body" sz="quarter" idx="10"/>
          </p:nvPr>
        </p:nvSpPr>
        <p:spPr>
          <a:xfrm>
            <a:off x="503999" y="1620000"/>
            <a:ext cx="5593587" cy="4716000"/>
          </a:xfrm>
        </p:spPr>
        <p:txBody>
          <a:bodyPr/>
          <a:lstStyle/>
          <a:p>
            <a:pPr lvl="1"/>
            <a:r>
              <a:rPr lang="en-US" dirty="0"/>
              <a:t>UGW is a GA service</a:t>
            </a:r>
          </a:p>
          <a:p>
            <a:pPr lvl="1"/>
            <a:r>
              <a:rPr lang="en-US" dirty="0"/>
              <a:t>It handles productive traffic since March 2023. </a:t>
            </a:r>
          </a:p>
          <a:p>
            <a:pPr lvl="1"/>
            <a:r>
              <a:rPr lang="en-US" dirty="0"/>
              <a:t>We completed 2 successful frontrunners, and an additional one is about to end in August.</a:t>
            </a:r>
          </a:p>
          <a:p>
            <a:pPr lvl="1"/>
            <a:r>
              <a:rPr lang="en-US" dirty="0"/>
              <a:t>UGW is productively adopted by 16 cloud solutions:</a:t>
            </a:r>
          </a:p>
          <a:p>
            <a:pPr marL="358811" lvl="2"/>
            <a:r>
              <a:rPr lang="en-US" sz="1600" dirty="0"/>
              <a:t>S4/Digital Manufacturing Cloud</a:t>
            </a:r>
          </a:p>
          <a:p>
            <a:pPr marL="358811" lvl="2"/>
            <a:r>
              <a:rPr lang="en-US" sz="1600" dirty="0"/>
              <a:t>Cloud ERP: Order Management Services</a:t>
            </a:r>
          </a:p>
          <a:p>
            <a:pPr marL="358811" lvl="2"/>
            <a:r>
              <a:rPr lang="en-US" sz="1600" dirty="0"/>
              <a:t>3 Industry Cloud solutions: Revenue Growth Management, Returns Management and Data Ingestion</a:t>
            </a:r>
          </a:p>
          <a:p>
            <a:pPr marL="358811" lvl="2"/>
            <a:r>
              <a:rPr lang="en-US" sz="1600" dirty="0"/>
              <a:t>Signavio – Legacy and BTP based services</a:t>
            </a:r>
          </a:p>
          <a:p>
            <a:pPr marL="358811" lvl="2"/>
            <a:r>
              <a:rPr lang="en-US" sz="1600" dirty="0"/>
              <a:t>BTP/Decentralized Identity Verification</a:t>
            </a:r>
          </a:p>
          <a:p>
            <a:pPr marL="358811" lvl="2"/>
            <a:r>
              <a:rPr lang="en-US" sz="1600" dirty="0"/>
              <a:t>SAP Community</a:t>
            </a:r>
          </a:p>
          <a:p>
            <a:pPr marL="179423" lvl="2" indent="0">
              <a:buNone/>
            </a:pPr>
            <a:endParaRPr lang="en-US" sz="1600" dirty="0"/>
          </a:p>
          <a:p>
            <a:endParaRPr lang="en-IL" dirty="0"/>
          </a:p>
        </p:txBody>
      </p:sp>
      <p:sp>
        <p:nvSpPr>
          <p:cNvPr id="3" name="Title 2">
            <a:extLst>
              <a:ext uri="{FF2B5EF4-FFF2-40B4-BE49-F238E27FC236}">
                <a16:creationId xmlns:a16="http://schemas.microsoft.com/office/drawing/2014/main" id="{A17698D6-5DFE-7790-EAF6-BC2F64817E0D}"/>
              </a:ext>
            </a:extLst>
          </p:cNvPr>
          <p:cNvSpPr>
            <a:spLocks noGrp="1"/>
          </p:cNvSpPr>
          <p:nvPr>
            <p:ph type="title"/>
          </p:nvPr>
        </p:nvSpPr>
        <p:spPr/>
        <p:txBody>
          <a:bodyPr/>
          <a:lstStyle/>
          <a:p>
            <a:r>
              <a:rPr lang="en-US"/>
              <a:t>UGW Service Status</a:t>
            </a:r>
          </a:p>
        </p:txBody>
      </p:sp>
      <p:pic>
        <p:nvPicPr>
          <p:cNvPr id="4" name="Picture 3">
            <a:extLst>
              <a:ext uri="{FF2B5EF4-FFF2-40B4-BE49-F238E27FC236}">
                <a16:creationId xmlns:a16="http://schemas.microsoft.com/office/drawing/2014/main" id="{629A777D-2916-B7B9-5D85-25B7BE680E93}"/>
              </a:ext>
            </a:extLst>
          </p:cNvPr>
          <p:cNvPicPr>
            <a:picLocks noChangeAspect="1"/>
          </p:cNvPicPr>
          <p:nvPr/>
        </p:nvPicPr>
        <p:blipFill>
          <a:blip r:embed="rId2"/>
          <a:stretch>
            <a:fillRect/>
          </a:stretch>
        </p:blipFill>
        <p:spPr>
          <a:xfrm>
            <a:off x="5988908" y="4226222"/>
            <a:ext cx="5990797" cy="2517305"/>
          </a:xfrm>
          <a:prstGeom prst="rect">
            <a:avLst/>
          </a:prstGeom>
        </p:spPr>
      </p:pic>
    </p:spTree>
    <p:extLst>
      <p:ext uri="{BB962C8B-B14F-4D97-AF65-F5344CB8AC3E}">
        <p14:creationId xmlns:p14="http://schemas.microsoft.com/office/powerpoint/2010/main" val="25893188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Title 3">
            <a:extLst>
              <a:ext uri="{FF2B5EF4-FFF2-40B4-BE49-F238E27FC236}">
                <a16:creationId xmlns:a16="http://schemas.microsoft.com/office/drawing/2014/main" id="{1D5D51C9-1C57-4F59-88D2-8D3C1E9439E5}"/>
              </a:ext>
            </a:extLst>
          </p:cNvPr>
          <p:cNvSpPr txBox="1">
            <a:spLocks/>
          </p:cNvSpPr>
          <p:nvPr/>
        </p:nvSpPr>
        <p:spPr bwMode="black">
          <a:xfrm>
            <a:off x="223397" y="1054869"/>
            <a:ext cx="11617431" cy="1019614"/>
          </a:xfrm>
          <a:prstGeom prst="rect">
            <a:avLst/>
          </a:prstGeom>
          <a:solidFill>
            <a:srgbClr val="D3F6C2">
              <a:alpha val="49804"/>
            </a:srgbClr>
          </a:solidFill>
          <a:ln>
            <a:noFill/>
          </a:ln>
        </p:spPr>
        <p:style>
          <a:lnRef idx="0">
            <a:scrgbClr r="0" g="0" b="0"/>
          </a:lnRef>
          <a:fillRef idx="0">
            <a:scrgbClr r="0" g="0" b="0"/>
          </a:fillRef>
          <a:effectRef idx="0">
            <a:scrgbClr r="0" g="0" b="0"/>
          </a:effectRef>
          <a:fontRef idx="minor">
            <a:schemeClr val="lt1"/>
          </a:fontRef>
        </p:style>
        <p:txBody>
          <a:bodyPr vert="horz" wrap="square" lIns="0" tIns="0" rIns="0" bIns="0" rtlCol="0" anchor="ctr" anchorCtr="0">
            <a:noAutofit/>
          </a:bodyPr>
          <a:lstStyle>
            <a:lvl1pPr algn="l" defTabSz="1088231" rtl="0" eaLnBrk="1" latinLnBrk="0" hangingPunct="1">
              <a:spcBef>
                <a:spcPct val="0"/>
              </a:spcBef>
              <a:buNone/>
              <a:defRPr sz="2399" b="1" kern="1200" baseline="0">
                <a:solidFill>
                  <a:schemeClr val="tx1"/>
                </a:solidFill>
                <a:latin typeface="+mj-lt"/>
                <a:ea typeface="+mj-ea"/>
                <a:cs typeface="+mj-cs"/>
              </a:defRPr>
            </a:lvl1pPr>
          </a:lstStyle>
          <a:p>
            <a:pPr marL="285750" indent="-285750" defTabSz="1088558">
              <a:spcBef>
                <a:spcPts val="1200"/>
              </a:spcBef>
              <a:buClr>
                <a:srgbClr val="00B050"/>
              </a:buClr>
              <a:buSzPct val="80000"/>
              <a:buFont typeface="Arial" panose="020B0604020202020204" pitchFamily="34" charset="0"/>
              <a:buChar char="•"/>
            </a:pPr>
            <a:r>
              <a:rPr lang="en-US" sz="1600" b="0">
                <a:latin typeface="+mn-lt"/>
                <a:ea typeface="+mn-ea"/>
                <a:cs typeface="+mn-cs"/>
              </a:rPr>
              <a:t>As a CAT-1 Kernel service UGW should be co-deployed with the workload it serves - the deployment is based on LOB demand, targeting ALL SAP supported regions/DCs (FKA </a:t>
            </a:r>
            <a:r>
              <a:rPr lang="en-US" sz="1600" b="0" err="1">
                <a:latin typeface="+mn-lt"/>
                <a:ea typeface="+mn-ea"/>
                <a:cs typeface="+mn-cs"/>
              </a:rPr>
              <a:t>OneStrike</a:t>
            </a:r>
            <a:r>
              <a:rPr lang="en-US" sz="1600" b="0">
                <a:latin typeface="+mn-lt"/>
                <a:ea typeface="+mn-ea"/>
                <a:cs typeface="+mn-cs"/>
              </a:rPr>
              <a:t> DCs)</a:t>
            </a:r>
          </a:p>
          <a:p>
            <a:pPr marL="285750" indent="-285750" defTabSz="1088558">
              <a:spcBef>
                <a:spcPts val="1200"/>
              </a:spcBef>
              <a:buClr>
                <a:srgbClr val="00B050"/>
              </a:buClr>
              <a:buSzPct val="80000"/>
              <a:buFont typeface="Arial" panose="020B0604020202020204" pitchFamily="34" charset="0"/>
              <a:buChar char="•"/>
            </a:pPr>
            <a:r>
              <a:rPr lang="en-US" sz="1600" b="0">
                <a:latin typeface="+mn-lt"/>
                <a:ea typeface="+mn-ea"/>
                <a:cs typeface="+mn-cs"/>
              </a:rPr>
              <a:t>Aligned with BTP everywhere, UGW will be deployed to all BTP regions</a:t>
            </a:r>
          </a:p>
        </p:txBody>
      </p:sp>
      <p:grpSp>
        <p:nvGrpSpPr>
          <p:cNvPr id="22" name="Group 21">
            <a:extLst>
              <a:ext uri="{FF2B5EF4-FFF2-40B4-BE49-F238E27FC236}">
                <a16:creationId xmlns:a16="http://schemas.microsoft.com/office/drawing/2014/main" id="{53A9EC21-B9F9-4E84-9C64-7CFFD93E44A1}"/>
              </a:ext>
            </a:extLst>
          </p:cNvPr>
          <p:cNvGrpSpPr>
            <a:grpSpLocks noChangeAspect="1"/>
          </p:cNvGrpSpPr>
          <p:nvPr/>
        </p:nvGrpSpPr>
        <p:grpSpPr>
          <a:xfrm>
            <a:off x="1188513" y="2150638"/>
            <a:ext cx="8923912" cy="4574004"/>
            <a:chOff x="2881313" y="1644650"/>
            <a:chExt cx="6399213" cy="3189288"/>
          </a:xfrm>
        </p:grpSpPr>
        <p:sp>
          <p:nvSpPr>
            <p:cNvPr id="23" name="Freeform 185">
              <a:extLst>
                <a:ext uri="{FF2B5EF4-FFF2-40B4-BE49-F238E27FC236}">
                  <a16:creationId xmlns:a16="http://schemas.microsoft.com/office/drawing/2014/main" id="{EA85E0FC-BB3D-4F12-AC7A-89D1572C87B4}"/>
                </a:ext>
              </a:extLst>
            </p:cNvPr>
            <p:cNvSpPr>
              <a:spLocks/>
            </p:cNvSpPr>
            <p:nvPr/>
          </p:nvSpPr>
          <p:spPr bwMode="auto">
            <a:xfrm>
              <a:off x="4352926" y="3448050"/>
              <a:ext cx="949325" cy="1385888"/>
            </a:xfrm>
            <a:custGeom>
              <a:avLst/>
              <a:gdLst>
                <a:gd name="T0" fmla="*/ 0 w 1850"/>
                <a:gd name="T1" fmla="*/ 104 h 2702"/>
                <a:gd name="T2" fmla="*/ 24 w 1850"/>
                <a:gd name="T3" fmla="*/ 0 h 2702"/>
                <a:gd name="T4" fmla="*/ 53 w 1850"/>
                <a:gd name="T5" fmla="*/ 11 h 2702"/>
                <a:gd name="T6" fmla="*/ 116 w 1850"/>
                <a:gd name="T7" fmla="*/ 132 h 2702"/>
                <a:gd name="T8" fmla="*/ 255 w 1850"/>
                <a:gd name="T9" fmla="*/ 213 h 2702"/>
                <a:gd name="T10" fmla="*/ 427 w 1850"/>
                <a:gd name="T11" fmla="*/ 201 h 2702"/>
                <a:gd name="T12" fmla="*/ 543 w 1850"/>
                <a:gd name="T13" fmla="*/ 173 h 2702"/>
                <a:gd name="T14" fmla="*/ 715 w 1850"/>
                <a:gd name="T15" fmla="*/ 207 h 2702"/>
                <a:gd name="T16" fmla="*/ 952 w 1850"/>
                <a:gd name="T17" fmla="*/ 248 h 2702"/>
                <a:gd name="T18" fmla="*/ 1205 w 1850"/>
                <a:gd name="T19" fmla="*/ 386 h 2702"/>
                <a:gd name="T20" fmla="*/ 1269 w 1850"/>
                <a:gd name="T21" fmla="*/ 536 h 2702"/>
                <a:gd name="T22" fmla="*/ 1470 w 1850"/>
                <a:gd name="T23" fmla="*/ 645 h 2702"/>
                <a:gd name="T24" fmla="*/ 1724 w 1850"/>
                <a:gd name="T25" fmla="*/ 737 h 2702"/>
                <a:gd name="T26" fmla="*/ 1799 w 1850"/>
                <a:gd name="T27" fmla="*/ 910 h 2702"/>
                <a:gd name="T28" fmla="*/ 1632 w 1850"/>
                <a:gd name="T29" fmla="*/ 1210 h 2702"/>
                <a:gd name="T30" fmla="*/ 1482 w 1850"/>
                <a:gd name="T31" fmla="*/ 1434 h 2702"/>
                <a:gd name="T32" fmla="*/ 1338 w 1850"/>
                <a:gd name="T33" fmla="*/ 1555 h 2702"/>
                <a:gd name="T34" fmla="*/ 1263 w 1850"/>
                <a:gd name="T35" fmla="*/ 1682 h 2702"/>
                <a:gd name="T36" fmla="*/ 1130 w 1850"/>
                <a:gd name="T37" fmla="*/ 1872 h 2702"/>
                <a:gd name="T38" fmla="*/ 1004 w 1850"/>
                <a:gd name="T39" fmla="*/ 1855 h 2702"/>
                <a:gd name="T40" fmla="*/ 1009 w 1850"/>
                <a:gd name="T41" fmla="*/ 2005 h 2702"/>
                <a:gd name="T42" fmla="*/ 825 w 1850"/>
                <a:gd name="T43" fmla="*/ 2114 h 2702"/>
                <a:gd name="T44" fmla="*/ 790 w 1850"/>
                <a:gd name="T45" fmla="*/ 2160 h 2702"/>
                <a:gd name="T46" fmla="*/ 727 w 1850"/>
                <a:gd name="T47" fmla="*/ 2281 h 2702"/>
                <a:gd name="T48" fmla="*/ 744 w 1850"/>
                <a:gd name="T49" fmla="*/ 2443 h 2702"/>
                <a:gd name="T50" fmla="*/ 629 w 1850"/>
                <a:gd name="T51" fmla="*/ 2621 h 2702"/>
                <a:gd name="T52" fmla="*/ 571 w 1850"/>
                <a:gd name="T53" fmla="*/ 2650 h 2702"/>
                <a:gd name="T54" fmla="*/ 439 w 1850"/>
                <a:gd name="T55" fmla="*/ 2391 h 2702"/>
                <a:gd name="T56" fmla="*/ 479 w 1850"/>
                <a:gd name="T57" fmla="*/ 2281 h 2702"/>
                <a:gd name="T58" fmla="*/ 473 w 1850"/>
                <a:gd name="T59" fmla="*/ 2074 h 2702"/>
                <a:gd name="T60" fmla="*/ 502 w 1850"/>
                <a:gd name="T61" fmla="*/ 1849 h 2702"/>
                <a:gd name="T62" fmla="*/ 525 w 1850"/>
                <a:gd name="T63" fmla="*/ 1602 h 2702"/>
                <a:gd name="T64" fmla="*/ 600 w 1850"/>
                <a:gd name="T65" fmla="*/ 1446 h 2702"/>
                <a:gd name="T66" fmla="*/ 566 w 1850"/>
                <a:gd name="T67" fmla="*/ 1273 h 2702"/>
                <a:gd name="T68" fmla="*/ 410 w 1850"/>
                <a:gd name="T69" fmla="*/ 1141 h 2702"/>
                <a:gd name="T70" fmla="*/ 358 w 1850"/>
                <a:gd name="T71" fmla="*/ 1025 h 2702"/>
                <a:gd name="T72" fmla="*/ 197 w 1850"/>
                <a:gd name="T73" fmla="*/ 812 h 2702"/>
                <a:gd name="T74" fmla="*/ 220 w 1850"/>
                <a:gd name="T75" fmla="*/ 593 h 2702"/>
                <a:gd name="T76" fmla="*/ 318 w 1850"/>
                <a:gd name="T77" fmla="*/ 461 h 2702"/>
                <a:gd name="T78" fmla="*/ 318 w 1850"/>
                <a:gd name="T79" fmla="*/ 328 h 2702"/>
                <a:gd name="T80" fmla="*/ 122 w 1850"/>
                <a:gd name="T81" fmla="*/ 282 h 2702"/>
                <a:gd name="T82" fmla="*/ 0 w 1850"/>
                <a:gd name="T83" fmla="*/ 104 h 2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0" h="2702">
                  <a:moveTo>
                    <a:pt x="0" y="104"/>
                  </a:moveTo>
                  <a:cubicBezTo>
                    <a:pt x="9" y="65"/>
                    <a:pt x="15" y="30"/>
                    <a:pt x="24" y="0"/>
                  </a:cubicBezTo>
                  <a:cubicBezTo>
                    <a:pt x="31" y="7"/>
                    <a:pt x="40" y="11"/>
                    <a:pt x="53" y="11"/>
                  </a:cubicBezTo>
                  <a:cubicBezTo>
                    <a:pt x="139" y="11"/>
                    <a:pt x="82" y="75"/>
                    <a:pt x="116" y="132"/>
                  </a:cubicBezTo>
                  <a:cubicBezTo>
                    <a:pt x="151" y="190"/>
                    <a:pt x="208" y="230"/>
                    <a:pt x="255" y="213"/>
                  </a:cubicBezTo>
                  <a:cubicBezTo>
                    <a:pt x="301" y="196"/>
                    <a:pt x="381" y="230"/>
                    <a:pt x="427" y="201"/>
                  </a:cubicBezTo>
                  <a:cubicBezTo>
                    <a:pt x="473" y="173"/>
                    <a:pt x="520" y="115"/>
                    <a:pt x="543" y="173"/>
                  </a:cubicBezTo>
                  <a:cubicBezTo>
                    <a:pt x="566" y="230"/>
                    <a:pt x="658" y="207"/>
                    <a:pt x="715" y="207"/>
                  </a:cubicBezTo>
                  <a:cubicBezTo>
                    <a:pt x="773" y="207"/>
                    <a:pt x="854" y="190"/>
                    <a:pt x="952" y="248"/>
                  </a:cubicBezTo>
                  <a:cubicBezTo>
                    <a:pt x="1050" y="305"/>
                    <a:pt x="1130" y="386"/>
                    <a:pt x="1205" y="386"/>
                  </a:cubicBezTo>
                  <a:cubicBezTo>
                    <a:pt x="1280" y="386"/>
                    <a:pt x="1269" y="461"/>
                    <a:pt x="1269" y="536"/>
                  </a:cubicBezTo>
                  <a:cubicBezTo>
                    <a:pt x="1269" y="611"/>
                    <a:pt x="1366" y="611"/>
                    <a:pt x="1470" y="645"/>
                  </a:cubicBezTo>
                  <a:cubicBezTo>
                    <a:pt x="1574" y="680"/>
                    <a:pt x="1620" y="674"/>
                    <a:pt x="1724" y="737"/>
                  </a:cubicBezTo>
                  <a:cubicBezTo>
                    <a:pt x="1827" y="801"/>
                    <a:pt x="1850" y="835"/>
                    <a:pt x="1799" y="910"/>
                  </a:cubicBezTo>
                  <a:cubicBezTo>
                    <a:pt x="1747" y="985"/>
                    <a:pt x="1637" y="1100"/>
                    <a:pt x="1632" y="1210"/>
                  </a:cubicBezTo>
                  <a:cubicBezTo>
                    <a:pt x="1626" y="1319"/>
                    <a:pt x="1557" y="1423"/>
                    <a:pt x="1482" y="1434"/>
                  </a:cubicBezTo>
                  <a:cubicBezTo>
                    <a:pt x="1407" y="1446"/>
                    <a:pt x="1338" y="1504"/>
                    <a:pt x="1338" y="1555"/>
                  </a:cubicBezTo>
                  <a:cubicBezTo>
                    <a:pt x="1338" y="1607"/>
                    <a:pt x="1269" y="1584"/>
                    <a:pt x="1263" y="1682"/>
                  </a:cubicBezTo>
                  <a:cubicBezTo>
                    <a:pt x="1257" y="1780"/>
                    <a:pt x="1171" y="1890"/>
                    <a:pt x="1130" y="1872"/>
                  </a:cubicBezTo>
                  <a:cubicBezTo>
                    <a:pt x="1090" y="1855"/>
                    <a:pt x="946" y="1774"/>
                    <a:pt x="1004" y="1855"/>
                  </a:cubicBezTo>
                  <a:cubicBezTo>
                    <a:pt x="1061" y="1936"/>
                    <a:pt x="1073" y="1976"/>
                    <a:pt x="1009" y="2005"/>
                  </a:cubicBezTo>
                  <a:cubicBezTo>
                    <a:pt x="946" y="2034"/>
                    <a:pt x="865" y="2155"/>
                    <a:pt x="825" y="2114"/>
                  </a:cubicBezTo>
                  <a:cubicBezTo>
                    <a:pt x="785" y="2074"/>
                    <a:pt x="790" y="2120"/>
                    <a:pt x="790" y="2160"/>
                  </a:cubicBezTo>
                  <a:cubicBezTo>
                    <a:pt x="790" y="2201"/>
                    <a:pt x="779" y="2281"/>
                    <a:pt x="727" y="2281"/>
                  </a:cubicBezTo>
                  <a:cubicBezTo>
                    <a:pt x="675" y="2281"/>
                    <a:pt x="773" y="2425"/>
                    <a:pt x="744" y="2443"/>
                  </a:cubicBezTo>
                  <a:cubicBezTo>
                    <a:pt x="715" y="2460"/>
                    <a:pt x="629" y="2621"/>
                    <a:pt x="629" y="2621"/>
                  </a:cubicBezTo>
                  <a:cubicBezTo>
                    <a:pt x="629" y="2621"/>
                    <a:pt x="635" y="2702"/>
                    <a:pt x="571" y="2650"/>
                  </a:cubicBezTo>
                  <a:cubicBezTo>
                    <a:pt x="508" y="2598"/>
                    <a:pt x="462" y="2437"/>
                    <a:pt x="439" y="2391"/>
                  </a:cubicBezTo>
                  <a:cubicBezTo>
                    <a:pt x="416" y="2345"/>
                    <a:pt x="445" y="2339"/>
                    <a:pt x="479" y="2281"/>
                  </a:cubicBezTo>
                  <a:cubicBezTo>
                    <a:pt x="514" y="2224"/>
                    <a:pt x="508" y="2178"/>
                    <a:pt x="473" y="2074"/>
                  </a:cubicBezTo>
                  <a:cubicBezTo>
                    <a:pt x="439" y="1970"/>
                    <a:pt x="450" y="1890"/>
                    <a:pt x="502" y="1849"/>
                  </a:cubicBezTo>
                  <a:cubicBezTo>
                    <a:pt x="554" y="1809"/>
                    <a:pt x="525" y="1676"/>
                    <a:pt x="525" y="1602"/>
                  </a:cubicBezTo>
                  <a:cubicBezTo>
                    <a:pt x="525" y="1527"/>
                    <a:pt x="635" y="1509"/>
                    <a:pt x="600" y="1446"/>
                  </a:cubicBezTo>
                  <a:cubicBezTo>
                    <a:pt x="566" y="1383"/>
                    <a:pt x="606" y="1308"/>
                    <a:pt x="566" y="1273"/>
                  </a:cubicBezTo>
                  <a:cubicBezTo>
                    <a:pt x="525" y="1239"/>
                    <a:pt x="473" y="1141"/>
                    <a:pt x="410" y="1141"/>
                  </a:cubicBezTo>
                  <a:cubicBezTo>
                    <a:pt x="347" y="1141"/>
                    <a:pt x="358" y="1077"/>
                    <a:pt x="358" y="1025"/>
                  </a:cubicBezTo>
                  <a:cubicBezTo>
                    <a:pt x="358" y="974"/>
                    <a:pt x="231" y="881"/>
                    <a:pt x="197" y="812"/>
                  </a:cubicBezTo>
                  <a:cubicBezTo>
                    <a:pt x="162" y="743"/>
                    <a:pt x="157" y="622"/>
                    <a:pt x="220" y="593"/>
                  </a:cubicBezTo>
                  <a:cubicBezTo>
                    <a:pt x="283" y="564"/>
                    <a:pt x="255" y="478"/>
                    <a:pt x="318" y="461"/>
                  </a:cubicBezTo>
                  <a:cubicBezTo>
                    <a:pt x="381" y="443"/>
                    <a:pt x="341" y="374"/>
                    <a:pt x="318" y="328"/>
                  </a:cubicBezTo>
                  <a:cubicBezTo>
                    <a:pt x="295" y="282"/>
                    <a:pt x="151" y="328"/>
                    <a:pt x="122" y="282"/>
                  </a:cubicBezTo>
                  <a:cubicBezTo>
                    <a:pt x="94" y="238"/>
                    <a:pt x="88" y="113"/>
                    <a:pt x="0" y="10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r" defTabSz="914400" rtl="1"/>
              <a:endParaRPr lang="en-US"/>
            </a:p>
          </p:txBody>
        </p:sp>
        <p:sp>
          <p:nvSpPr>
            <p:cNvPr id="24" name="Freeform 186">
              <a:extLst>
                <a:ext uri="{FF2B5EF4-FFF2-40B4-BE49-F238E27FC236}">
                  <a16:creationId xmlns:a16="http://schemas.microsoft.com/office/drawing/2014/main" id="{23637263-4D1A-4158-8632-7FC91AB4E9BD}"/>
                </a:ext>
              </a:extLst>
            </p:cNvPr>
            <p:cNvSpPr>
              <a:spLocks noEditPoints="1"/>
            </p:cNvSpPr>
            <p:nvPr/>
          </p:nvSpPr>
          <p:spPr bwMode="auto">
            <a:xfrm>
              <a:off x="2881313" y="1644650"/>
              <a:ext cx="2922588" cy="1973263"/>
            </a:xfrm>
            <a:custGeom>
              <a:avLst/>
              <a:gdLst>
                <a:gd name="T0" fmla="*/ 1841 w 5696"/>
                <a:gd name="T1" fmla="*/ 757 h 3847"/>
                <a:gd name="T2" fmla="*/ 1607 w 5696"/>
                <a:gd name="T3" fmla="*/ 2697 h 3847"/>
                <a:gd name="T4" fmla="*/ 466 w 5696"/>
                <a:gd name="T5" fmla="*/ 1821 h 3847"/>
                <a:gd name="T6" fmla="*/ 1215 w 5696"/>
                <a:gd name="T7" fmla="*/ 1164 h 3847"/>
                <a:gd name="T8" fmla="*/ 1953 w 5696"/>
                <a:gd name="T9" fmla="*/ 1147 h 3847"/>
                <a:gd name="T10" fmla="*/ 1910 w 5696"/>
                <a:gd name="T11" fmla="*/ 658 h 3847"/>
                <a:gd name="T12" fmla="*/ 1962 w 5696"/>
                <a:gd name="T13" fmla="*/ 519 h 3847"/>
                <a:gd name="T14" fmla="*/ 2249 w 5696"/>
                <a:gd name="T15" fmla="*/ 727 h 3847"/>
                <a:gd name="T16" fmla="*/ 2249 w 5696"/>
                <a:gd name="T17" fmla="*/ 628 h 3847"/>
                <a:gd name="T18" fmla="*/ 2229 w 5696"/>
                <a:gd name="T19" fmla="*/ 1158 h 3847"/>
                <a:gd name="T20" fmla="*/ 2249 w 5696"/>
                <a:gd name="T21" fmla="*/ 945 h 3847"/>
                <a:gd name="T22" fmla="*/ 2249 w 5696"/>
                <a:gd name="T23" fmla="*/ 519 h 3847"/>
                <a:gd name="T24" fmla="*/ 2360 w 5696"/>
                <a:gd name="T25" fmla="*/ 1100 h 3847"/>
                <a:gd name="T26" fmla="*/ 2423 w 5696"/>
                <a:gd name="T27" fmla="*/ 744 h 3847"/>
                <a:gd name="T28" fmla="*/ 2360 w 5696"/>
                <a:gd name="T29" fmla="*/ 1192 h 3847"/>
                <a:gd name="T30" fmla="*/ 2445 w 5696"/>
                <a:gd name="T31" fmla="*/ 1020 h 3847"/>
                <a:gd name="T32" fmla="*/ 2435 w 5696"/>
                <a:gd name="T33" fmla="*/ 649 h 3847"/>
                <a:gd name="T34" fmla="*/ 2435 w 5696"/>
                <a:gd name="T35" fmla="*/ 461 h 3847"/>
                <a:gd name="T36" fmla="*/ 2523 w 5696"/>
                <a:gd name="T37" fmla="*/ 3296 h 3847"/>
                <a:gd name="T38" fmla="*/ 2644 w 5696"/>
                <a:gd name="T39" fmla="*/ 623 h 3847"/>
                <a:gd name="T40" fmla="*/ 2776 w 5696"/>
                <a:gd name="T41" fmla="*/ 779 h 3847"/>
                <a:gd name="T42" fmla="*/ 2644 w 5696"/>
                <a:gd name="T43" fmla="*/ 438 h 3847"/>
                <a:gd name="T44" fmla="*/ 2667 w 5696"/>
                <a:gd name="T45" fmla="*/ 991 h 3847"/>
                <a:gd name="T46" fmla="*/ 2776 w 5696"/>
                <a:gd name="T47" fmla="*/ 3597 h 3847"/>
                <a:gd name="T48" fmla="*/ 2776 w 5696"/>
                <a:gd name="T49" fmla="*/ 550 h 3847"/>
                <a:gd name="T50" fmla="*/ 2811 w 5696"/>
                <a:gd name="T51" fmla="*/ 945 h 3847"/>
                <a:gd name="T52" fmla="*/ 2944 w 5696"/>
                <a:gd name="T53" fmla="*/ 496 h 3847"/>
                <a:gd name="T54" fmla="*/ 2986 w 5696"/>
                <a:gd name="T55" fmla="*/ 3020 h 3847"/>
                <a:gd name="T56" fmla="*/ 2776 w 5696"/>
                <a:gd name="T57" fmla="*/ 1459 h 3847"/>
                <a:gd name="T58" fmla="*/ 2868 w 5696"/>
                <a:gd name="T59" fmla="*/ 3619 h 3847"/>
                <a:gd name="T60" fmla="*/ 3065 w 5696"/>
                <a:gd name="T61" fmla="*/ 1464 h 3847"/>
                <a:gd name="T62" fmla="*/ 3082 w 5696"/>
                <a:gd name="T63" fmla="*/ 786 h 3847"/>
                <a:gd name="T64" fmla="*/ 3082 w 5696"/>
                <a:gd name="T65" fmla="*/ 291 h 3847"/>
                <a:gd name="T66" fmla="*/ 3048 w 5696"/>
                <a:gd name="T67" fmla="*/ 1953 h 3847"/>
                <a:gd name="T68" fmla="*/ 3082 w 5696"/>
                <a:gd name="T69" fmla="*/ 718 h 3847"/>
                <a:gd name="T70" fmla="*/ 3205 w 5696"/>
                <a:gd name="T71" fmla="*/ 3315 h 3847"/>
                <a:gd name="T72" fmla="*/ 3217 w 5696"/>
                <a:gd name="T73" fmla="*/ 1251 h 3847"/>
                <a:gd name="T74" fmla="*/ 3082 w 5696"/>
                <a:gd name="T75" fmla="*/ 658 h 3847"/>
                <a:gd name="T76" fmla="*/ 3082 w 5696"/>
                <a:gd name="T77" fmla="*/ 3730 h 3847"/>
                <a:gd name="T78" fmla="*/ 3217 w 5696"/>
                <a:gd name="T79" fmla="*/ 861 h 3847"/>
                <a:gd name="T80" fmla="*/ 3217 w 5696"/>
                <a:gd name="T81" fmla="*/ 3315 h 3847"/>
                <a:gd name="T82" fmla="*/ 3295 w 5696"/>
                <a:gd name="T83" fmla="*/ 1141 h 3847"/>
                <a:gd name="T84" fmla="*/ 3217 w 5696"/>
                <a:gd name="T85" fmla="*/ 544 h 3847"/>
                <a:gd name="T86" fmla="*/ 3353 w 5696"/>
                <a:gd name="T87" fmla="*/ 2570 h 3847"/>
                <a:gd name="T88" fmla="*/ 3572 w 5696"/>
                <a:gd name="T89" fmla="*/ 3437 h 3847"/>
                <a:gd name="T90" fmla="*/ 3425 w 5696"/>
                <a:gd name="T91" fmla="*/ 1489 h 3847"/>
                <a:gd name="T92" fmla="*/ 3628 w 5696"/>
                <a:gd name="T93" fmla="*/ 264 h 3847"/>
                <a:gd name="T94" fmla="*/ 3491 w 5696"/>
                <a:gd name="T95" fmla="*/ 1654 h 3847"/>
                <a:gd name="T96" fmla="*/ 3628 w 5696"/>
                <a:gd name="T97" fmla="*/ 1536 h 3847"/>
                <a:gd name="T98" fmla="*/ 3671 w 5696"/>
                <a:gd name="T99" fmla="*/ 1336 h 3847"/>
                <a:gd name="T100" fmla="*/ 3671 w 5696"/>
                <a:gd name="T101" fmla="*/ 117 h 3847"/>
                <a:gd name="T102" fmla="*/ 3671 w 5696"/>
                <a:gd name="T103" fmla="*/ 2127 h 3847"/>
                <a:gd name="T104" fmla="*/ 3671 w 5696"/>
                <a:gd name="T105" fmla="*/ 2395 h 3847"/>
                <a:gd name="T106" fmla="*/ 3671 w 5696"/>
                <a:gd name="T107" fmla="*/ 698 h 3847"/>
                <a:gd name="T108" fmla="*/ 3900 w 5696"/>
                <a:gd name="T109" fmla="*/ 2275 h 3847"/>
                <a:gd name="T110" fmla="*/ 5234 w 5696"/>
                <a:gd name="T111" fmla="*/ 332 h 3847"/>
                <a:gd name="T112" fmla="*/ 4989 w 5696"/>
                <a:gd name="T113" fmla="*/ 1135 h 3847"/>
                <a:gd name="T114" fmla="*/ 3900 w 5696"/>
                <a:gd name="T115" fmla="*/ 173 h 3847"/>
                <a:gd name="T116" fmla="*/ 3900 w 5696"/>
                <a:gd name="T117" fmla="*/ 1989 h 3847"/>
                <a:gd name="T118" fmla="*/ 5234 w 5696"/>
                <a:gd name="T119" fmla="*/ 408 h 3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96" h="3847">
                  <a:moveTo>
                    <a:pt x="1861" y="1080"/>
                  </a:moveTo>
                  <a:cubicBezTo>
                    <a:pt x="1838" y="1090"/>
                    <a:pt x="1842" y="1097"/>
                    <a:pt x="1861" y="1106"/>
                  </a:cubicBezTo>
                  <a:lnTo>
                    <a:pt x="1861" y="1080"/>
                  </a:lnTo>
                  <a:close/>
                  <a:moveTo>
                    <a:pt x="1861" y="827"/>
                  </a:moveTo>
                  <a:cubicBezTo>
                    <a:pt x="1854" y="825"/>
                    <a:pt x="1846" y="824"/>
                    <a:pt x="1838" y="824"/>
                  </a:cubicBezTo>
                  <a:cubicBezTo>
                    <a:pt x="1769" y="824"/>
                    <a:pt x="1728" y="778"/>
                    <a:pt x="1648" y="784"/>
                  </a:cubicBezTo>
                  <a:cubicBezTo>
                    <a:pt x="1550" y="784"/>
                    <a:pt x="1509" y="905"/>
                    <a:pt x="1555" y="962"/>
                  </a:cubicBezTo>
                  <a:cubicBezTo>
                    <a:pt x="1601" y="1020"/>
                    <a:pt x="1769" y="962"/>
                    <a:pt x="1780" y="1020"/>
                  </a:cubicBezTo>
                  <a:cubicBezTo>
                    <a:pt x="1787" y="1053"/>
                    <a:pt x="1834" y="1060"/>
                    <a:pt x="1861" y="1064"/>
                  </a:cubicBezTo>
                  <a:lnTo>
                    <a:pt x="1861" y="827"/>
                  </a:lnTo>
                  <a:close/>
                  <a:moveTo>
                    <a:pt x="1861" y="677"/>
                  </a:moveTo>
                  <a:cubicBezTo>
                    <a:pt x="1841" y="697"/>
                    <a:pt x="1835" y="729"/>
                    <a:pt x="1841" y="757"/>
                  </a:cubicBezTo>
                  <a:cubicBezTo>
                    <a:pt x="1843" y="769"/>
                    <a:pt x="1851" y="775"/>
                    <a:pt x="1861" y="778"/>
                  </a:cubicBezTo>
                  <a:lnTo>
                    <a:pt x="1861" y="677"/>
                  </a:lnTo>
                  <a:close/>
                  <a:moveTo>
                    <a:pt x="1861" y="560"/>
                  </a:moveTo>
                  <a:lnTo>
                    <a:pt x="1861" y="611"/>
                  </a:lnTo>
                  <a:cubicBezTo>
                    <a:pt x="1837" y="631"/>
                    <a:pt x="1796" y="649"/>
                    <a:pt x="1763" y="649"/>
                  </a:cubicBezTo>
                  <a:cubicBezTo>
                    <a:pt x="1690" y="649"/>
                    <a:pt x="1707" y="701"/>
                    <a:pt x="1651" y="701"/>
                  </a:cubicBezTo>
                  <a:cubicBezTo>
                    <a:pt x="1595" y="701"/>
                    <a:pt x="1560" y="632"/>
                    <a:pt x="1647" y="627"/>
                  </a:cubicBezTo>
                  <a:cubicBezTo>
                    <a:pt x="1733" y="623"/>
                    <a:pt x="1737" y="563"/>
                    <a:pt x="1837" y="558"/>
                  </a:cubicBezTo>
                  <a:cubicBezTo>
                    <a:pt x="1847" y="558"/>
                    <a:pt x="1855" y="559"/>
                    <a:pt x="1861" y="560"/>
                  </a:cubicBezTo>
                  <a:close/>
                  <a:moveTo>
                    <a:pt x="1861" y="2988"/>
                  </a:moveTo>
                  <a:cubicBezTo>
                    <a:pt x="1852" y="2971"/>
                    <a:pt x="1844" y="2953"/>
                    <a:pt x="1838" y="2933"/>
                  </a:cubicBezTo>
                  <a:cubicBezTo>
                    <a:pt x="1815" y="2858"/>
                    <a:pt x="1653" y="2777"/>
                    <a:pt x="1607" y="2697"/>
                  </a:cubicBezTo>
                  <a:cubicBezTo>
                    <a:pt x="1561" y="2616"/>
                    <a:pt x="1561" y="2449"/>
                    <a:pt x="1596" y="2432"/>
                  </a:cubicBezTo>
                  <a:cubicBezTo>
                    <a:pt x="1630" y="2414"/>
                    <a:pt x="1619" y="2374"/>
                    <a:pt x="1596" y="2311"/>
                  </a:cubicBezTo>
                  <a:cubicBezTo>
                    <a:pt x="1573" y="2247"/>
                    <a:pt x="1578" y="2236"/>
                    <a:pt x="1648" y="2270"/>
                  </a:cubicBezTo>
                  <a:cubicBezTo>
                    <a:pt x="1717" y="2305"/>
                    <a:pt x="1682" y="2201"/>
                    <a:pt x="1596" y="2167"/>
                  </a:cubicBezTo>
                  <a:cubicBezTo>
                    <a:pt x="1509" y="2132"/>
                    <a:pt x="1417" y="2051"/>
                    <a:pt x="1429" y="1994"/>
                  </a:cubicBezTo>
                  <a:cubicBezTo>
                    <a:pt x="1440" y="1936"/>
                    <a:pt x="1388" y="1942"/>
                    <a:pt x="1342" y="1902"/>
                  </a:cubicBezTo>
                  <a:cubicBezTo>
                    <a:pt x="1296" y="1861"/>
                    <a:pt x="1290" y="1746"/>
                    <a:pt x="1221" y="1752"/>
                  </a:cubicBezTo>
                  <a:cubicBezTo>
                    <a:pt x="1152" y="1758"/>
                    <a:pt x="1100" y="1711"/>
                    <a:pt x="1054" y="1700"/>
                  </a:cubicBezTo>
                  <a:cubicBezTo>
                    <a:pt x="1008" y="1688"/>
                    <a:pt x="899" y="1665"/>
                    <a:pt x="847" y="1677"/>
                  </a:cubicBezTo>
                  <a:cubicBezTo>
                    <a:pt x="795" y="1688"/>
                    <a:pt x="737" y="1648"/>
                    <a:pt x="708" y="1694"/>
                  </a:cubicBezTo>
                  <a:cubicBezTo>
                    <a:pt x="680" y="1740"/>
                    <a:pt x="645" y="1654"/>
                    <a:pt x="599" y="1683"/>
                  </a:cubicBezTo>
                  <a:cubicBezTo>
                    <a:pt x="553" y="1711"/>
                    <a:pt x="518" y="1804"/>
                    <a:pt x="466" y="1821"/>
                  </a:cubicBezTo>
                  <a:cubicBezTo>
                    <a:pt x="415" y="1838"/>
                    <a:pt x="311" y="1925"/>
                    <a:pt x="271" y="1959"/>
                  </a:cubicBezTo>
                  <a:cubicBezTo>
                    <a:pt x="230" y="1994"/>
                    <a:pt x="224" y="1919"/>
                    <a:pt x="299" y="1861"/>
                  </a:cubicBezTo>
                  <a:cubicBezTo>
                    <a:pt x="374" y="1804"/>
                    <a:pt x="478" y="1717"/>
                    <a:pt x="363" y="1717"/>
                  </a:cubicBezTo>
                  <a:cubicBezTo>
                    <a:pt x="248" y="1717"/>
                    <a:pt x="294" y="1665"/>
                    <a:pt x="201" y="1660"/>
                  </a:cubicBezTo>
                  <a:cubicBezTo>
                    <a:pt x="109" y="1654"/>
                    <a:pt x="132" y="1533"/>
                    <a:pt x="190" y="1498"/>
                  </a:cubicBezTo>
                  <a:cubicBezTo>
                    <a:pt x="248" y="1464"/>
                    <a:pt x="334" y="1406"/>
                    <a:pt x="253" y="1406"/>
                  </a:cubicBezTo>
                  <a:cubicBezTo>
                    <a:pt x="173" y="1406"/>
                    <a:pt x="0" y="1331"/>
                    <a:pt x="115" y="1320"/>
                  </a:cubicBezTo>
                  <a:cubicBezTo>
                    <a:pt x="230" y="1308"/>
                    <a:pt x="242" y="1314"/>
                    <a:pt x="207" y="1251"/>
                  </a:cubicBezTo>
                  <a:cubicBezTo>
                    <a:pt x="173" y="1187"/>
                    <a:pt x="40" y="1153"/>
                    <a:pt x="161" y="1135"/>
                  </a:cubicBezTo>
                  <a:cubicBezTo>
                    <a:pt x="282" y="1118"/>
                    <a:pt x="334" y="1009"/>
                    <a:pt x="438" y="1009"/>
                  </a:cubicBezTo>
                  <a:cubicBezTo>
                    <a:pt x="541" y="1009"/>
                    <a:pt x="720" y="1060"/>
                    <a:pt x="887" y="1072"/>
                  </a:cubicBezTo>
                  <a:cubicBezTo>
                    <a:pt x="1054" y="1083"/>
                    <a:pt x="1215" y="1216"/>
                    <a:pt x="1215" y="1164"/>
                  </a:cubicBezTo>
                  <a:cubicBezTo>
                    <a:pt x="1215" y="1112"/>
                    <a:pt x="1238" y="1089"/>
                    <a:pt x="1354" y="1089"/>
                  </a:cubicBezTo>
                  <a:cubicBezTo>
                    <a:pt x="1469" y="1089"/>
                    <a:pt x="1440" y="1009"/>
                    <a:pt x="1527" y="1066"/>
                  </a:cubicBezTo>
                  <a:cubicBezTo>
                    <a:pt x="1613" y="1124"/>
                    <a:pt x="1567" y="1101"/>
                    <a:pt x="1665" y="1101"/>
                  </a:cubicBezTo>
                  <a:cubicBezTo>
                    <a:pt x="1763" y="1101"/>
                    <a:pt x="1728" y="1164"/>
                    <a:pt x="1803" y="1164"/>
                  </a:cubicBezTo>
                  <a:cubicBezTo>
                    <a:pt x="1825" y="1164"/>
                    <a:pt x="1844" y="1162"/>
                    <a:pt x="1861" y="1161"/>
                  </a:cubicBezTo>
                  <a:lnTo>
                    <a:pt x="1861" y="2988"/>
                  </a:lnTo>
                  <a:close/>
                  <a:moveTo>
                    <a:pt x="1861" y="611"/>
                  </a:moveTo>
                  <a:lnTo>
                    <a:pt x="1861" y="560"/>
                  </a:lnTo>
                  <a:cubicBezTo>
                    <a:pt x="1896" y="567"/>
                    <a:pt x="1887" y="590"/>
                    <a:pt x="1861" y="611"/>
                  </a:cubicBezTo>
                  <a:close/>
                  <a:moveTo>
                    <a:pt x="1962" y="866"/>
                  </a:moveTo>
                  <a:lnTo>
                    <a:pt x="1962" y="1151"/>
                  </a:lnTo>
                  <a:cubicBezTo>
                    <a:pt x="1959" y="1150"/>
                    <a:pt x="1956" y="1148"/>
                    <a:pt x="1953" y="1147"/>
                  </a:cubicBezTo>
                  <a:cubicBezTo>
                    <a:pt x="1916" y="1127"/>
                    <a:pt x="1881" y="1116"/>
                    <a:pt x="1861" y="1106"/>
                  </a:cubicBezTo>
                  <a:lnTo>
                    <a:pt x="1861" y="1080"/>
                  </a:lnTo>
                  <a:cubicBezTo>
                    <a:pt x="1863" y="1079"/>
                    <a:pt x="1865" y="1078"/>
                    <a:pt x="1867" y="1078"/>
                  </a:cubicBezTo>
                  <a:cubicBezTo>
                    <a:pt x="1891" y="1068"/>
                    <a:pt x="1881" y="1066"/>
                    <a:pt x="1861" y="1064"/>
                  </a:cubicBezTo>
                  <a:lnTo>
                    <a:pt x="1861" y="827"/>
                  </a:lnTo>
                  <a:cubicBezTo>
                    <a:pt x="1895" y="833"/>
                    <a:pt x="1928" y="851"/>
                    <a:pt x="1962" y="866"/>
                  </a:cubicBezTo>
                  <a:close/>
                  <a:moveTo>
                    <a:pt x="1962" y="671"/>
                  </a:moveTo>
                  <a:lnTo>
                    <a:pt x="1962" y="800"/>
                  </a:lnTo>
                  <a:cubicBezTo>
                    <a:pt x="1939" y="810"/>
                    <a:pt x="1921" y="812"/>
                    <a:pt x="1923" y="796"/>
                  </a:cubicBezTo>
                  <a:cubicBezTo>
                    <a:pt x="1926" y="774"/>
                    <a:pt x="1887" y="786"/>
                    <a:pt x="1861" y="778"/>
                  </a:cubicBezTo>
                  <a:lnTo>
                    <a:pt x="1861" y="677"/>
                  </a:lnTo>
                  <a:cubicBezTo>
                    <a:pt x="1873" y="667"/>
                    <a:pt x="1889" y="659"/>
                    <a:pt x="1910" y="658"/>
                  </a:cubicBezTo>
                  <a:cubicBezTo>
                    <a:pt x="1927" y="656"/>
                    <a:pt x="1945" y="663"/>
                    <a:pt x="1962" y="671"/>
                  </a:cubicBezTo>
                  <a:moveTo>
                    <a:pt x="1962" y="481"/>
                  </a:moveTo>
                  <a:lnTo>
                    <a:pt x="1962" y="519"/>
                  </a:lnTo>
                  <a:cubicBezTo>
                    <a:pt x="1956" y="505"/>
                    <a:pt x="1956" y="491"/>
                    <a:pt x="1962" y="481"/>
                  </a:cubicBezTo>
                  <a:close/>
                  <a:moveTo>
                    <a:pt x="1962" y="3134"/>
                  </a:moveTo>
                  <a:lnTo>
                    <a:pt x="1959" y="3129"/>
                  </a:lnTo>
                  <a:cubicBezTo>
                    <a:pt x="1925" y="3078"/>
                    <a:pt x="1888" y="3037"/>
                    <a:pt x="1861" y="2988"/>
                  </a:cubicBezTo>
                  <a:lnTo>
                    <a:pt x="1861" y="1161"/>
                  </a:lnTo>
                  <a:cubicBezTo>
                    <a:pt x="1903" y="1157"/>
                    <a:pt x="1929" y="1156"/>
                    <a:pt x="1941" y="1193"/>
                  </a:cubicBezTo>
                  <a:cubicBezTo>
                    <a:pt x="1946" y="1207"/>
                    <a:pt x="1953" y="1215"/>
                    <a:pt x="1962" y="1220"/>
                  </a:cubicBezTo>
                  <a:lnTo>
                    <a:pt x="1962" y="3134"/>
                  </a:lnTo>
                  <a:close/>
                  <a:moveTo>
                    <a:pt x="1962" y="519"/>
                  </a:moveTo>
                  <a:lnTo>
                    <a:pt x="1962" y="481"/>
                  </a:lnTo>
                  <a:cubicBezTo>
                    <a:pt x="1970" y="468"/>
                    <a:pt x="1988" y="461"/>
                    <a:pt x="2019" y="463"/>
                  </a:cubicBezTo>
                  <a:cubicBezTo>
                    <a:pt x="2083" y="463"/>
                    <a:pt x="2129" y="573"/>
                    <a:pt x="2046" y="573"/>
                  </a:cubicBezTo>
                  <a:cubicBezTo>
                    <a:pt x="2007" y="573"/>
                    <a:pt x="1974" y="546"/>
                    <a:pt x="1962" y="519"/>
                  </a:cubicBezTo>
                  <a:close/>
                  <a:moveTo>
                    <a:pt x="2249" y="945"/>
                  </a:moveTo>
                  <a:cubicBezTo>
                    <a:pt x="2248" y="943"/>
                    <a:pt x="2247" y="941"/>
                    <a:pt x="2247" y="939"/>
                  </a:cubicBezTo>
                  <a:cubicBezTo>
                    <a:pt x="2218" y="853"/>
                    <a:pt x="2132" y="888"/>
                    <a:pt x="2051" y="888"/>
                  </a:cubicBezTo>
                  <a:cubicBezTo>
                    <a:pt x="2019" y="888"/>
                    <a:pt x="1990" y="878"/>
                    <a:pt x="1962" y="866"/>
                  </a:cubicBezTo>
                  <a:lnTo>
                    <a:pt x="1962" y="1151"/>
                  </a:lnTo>
                  <a:cubicBezTo>
                    <a:pt x="2036" y="1180"/>
                    <a:pt x="2161" y="1112"/>
                    <a:pt x="2249" y="1112"/>
                  </a:cubicBezTo>
                  <a:lnTo>
                    <a:pt x="2249" y="945"/>
                  </a:lnTo>
                  <a:close/>
                  <a:moveTo>
                    <a:pt x="2249" y="727"/>
                  </a:moveTo>
                  <a:cubicBezTo>
                    <a:pt x="2247" y="727"/>
                    <a:pt x="2244" y="727"/>
                    <a:pt x="2242" y="727"/>
                  </a:cubicBezTo>
                  <a:cubicBezTo>
                    <a:pt x="2169" y="727"/>
                    <a:pt x="2169" y="632"/>
                    <a:pt x="2113" y="632"/>
                  </a:cubicBezTo>
                  <a:cubicBezTo>
                    <a:pt x="2065" y="627"/>
                    <a:pt x="2074" y="645"/>
                    <a:pt x="2057" y="692"/>
                  </a:cubicBezTo>
                  <a:cubicBezTo>
                    <a:pt x="2044" y="726"/>
                    <a:pt x="2005" y="692"/>
                    <a:pt x="1962" y="671"/>
                  </a:cubicBezTo>
                  <a:lnTo>
                    <a:pt x="1962" y="800"/>
                  </a:lnTo>
                  <a:cubicBezTo>
                    <a:pt x="1983" y="791"/>
                    <a:pt x="2008" y="775"/>
                    <a:pt x="2026" y="761"/>
                  </a:cubicBezTo>
                  <a:cubicBezTo>
                    <a:pt x="2065" y="731"/>
                    <a:pt x="2113" y="753"/>
                    <a:pt x="2203" y="757"/>
                  </a:cubicBezTo>
                  <a:cubicBezTo>
                    <a:pt x="2221" y="758"/>
                    <a:pt x="2236" y="757"/>
                    <a:pt x="2249" y="755"/>
                  </a:cubicBezTo>
                  <a:lnTo>
                    <a:pt x="2249" y="727"/>
                  </a:lnTo>
                  <a:close/>
                  <a:moveTo>
                    <a:pt x="2249" y="628"/>
                  </a:moveTo>
                  <a:lnTo>
                    <a:pt x="2249" y="672"/>
                  </a:lnTo>
                  <a:cubicBezTo>
                    <a:pt x="2207" y="663"/>
                    <a:pt x="2191" y="631"/>
                    <a:pt x="2249" y="628"/>
                  </a:cubicBezTo>
                  <a:close/>
                  <a:moveTo>
                    <a:pt x="2249" y="427"/>
                  </a:moveTo>
                  <a:lnTo>
                    <a:pt x="2249" y="519"/>
                  </a:lnTo>
                  <a:cubicBezTo>
                    <a:pt x="2209" y="476"/>
                    <a:pt x="2191" y="411"/>
                    <a:pt x="2235" y="427"/>
                  </a:cubicBezTo>
                  <a:cubicBezTo>
                    <a:pt x="2240" y="427"/>
                    <a:pt x="2244" y="427"/>
                    <a:pt x="2249" y="427"/>
                  </a:cubicBezTo>
                  <a:close/>
                  <a:moveTo>
                    <a:pt x="2249" y="3318"/>
                  </a:moveTo>
                  <a:cubicBezTo>
                    <a:pt x="2239" y="3288"/>
                    <a:pt x="2228" y="3262"/>
                    <a:pt x="2212" y="3250"/>
                  </a:cubicBezTo>
                  <a:cubicBezTo>
                    <a:pt x="2166" y="3215"/>
                    <a:pt x="2011" y="3071"/>
                    <a:pt x="2045" y="3123"/>
                  </a:cubicBezTo>
                  <a:cubicBezTo>
                    <a:pt x="2080" y="3175"/>
                    <a:pt x="2120" y="3238"/>
                    <a:pt x="2080" y="3250"/>
                  </a:cubicBezTo>
                  <a:cubicBezTo>
                    <a:pt x="2040" y="3261"/>
                    <a:pt x="2007" y="3201"/>
                    <a:pt x="1962" y="3134"/>
                  </a:cubicBezTo>
                  <a:lnTo>
                    <a:pt x="1962" y="1220"/>
                  </a:lnTo>
                  <a:cubicBezTo>
                    <a:pt x="1988" y="1233"/>
                    <a:pt x="2029" y="1222"/>
                    <a:pt x="2080" y="1239"/>
                  </a:cubicBezTo>
                  <a:cubicBezTo>
                    <a:pt x="2149" y="1262"/>
                    <a:pt x="2137" y="1158"/>
                    <a:pt x="2229" y="1158"/>
                  </a:cubicBezTo>
                  <a:cubicBezTo>
                    <a:pt x="2236" y="1158"/>
                    <a:pt x="2243" y="1159"/>
                    <a:pt x="2249" y="1159"/>
                  </a:cubicBezTo>
                  <a:lnTo>
                    <a:pt x="2249" y="3318"/>
                  </a:lnTo>
                  <a:close/>
                  <a:moveTo>
                    <a:pt x="2249" y="672"/>
                  </a:moveTo>
                  <a:lnTo>
                    <a:pt x="2249" y="628"/>
                  </a:lnTo>
                  <a:cubicBezTo>
                    <a:pt x="2252" y="628"/>
                    <a:pt x="2256" y="627"/>
                    <a:pt x="2259" y="627"/>
                  </a:cubicBezTo>
                  <a:cubicBezTo>
                    <a:pt x="2320" y="627"/>
                    <a:pt x="2333" y="675"/>
                    <a:pt x="2272" y="675"/>
                  </a:cubicBezTo>
                  <a:cubicBezTo>
                    <a:pt x="2264" y="675"/>
                    <a:pt x="2256" y="674"/>
                    <a:pt x="2249" y="672"/>
                  </a:cubicBezTo>
                  <a:close/>
                  <a:moveTo>
                    <a:pt x="2249" y="755"/>
                  </a:moveTo>
                  <a:lnTo>
                    <a:pt x="2249" y="727"/>
                  </a:lnTo>
                  <a:cubicBezTo>
                    <a:pt x="2301" y="728"/>
                    <a:pt x="2297" y="749"/>
                    <a:pt x="2249" y="755"/>
                  </a:cubicBezTo>
                  <a:close/>
                  <a:moveTo>
                    <a:pt x="2360" y="1076"/>
                  </a:moveTo>
                  <a:cubicBezTo>
                    <a:pt x="2319" y="1067"/>
                    <a:pt x="2275" y="1020"/>
                    <a:pt x="2249" y="945"/>
                  </a:cubicBezTo>
                  <a:lnTo>
                    <a:pt x="2249" y="1112"/>
                  </a:lnTo>
                  <a:cubicBezTo>
                    <a:pt x="2252" y="1112"/>
                    <a:pt x="2255" y="1112"/>
                    <a:pt x="2258" y="1112"/>
                  </a:cubicBezTo>
                  <a:cubicBezTo>
                    <a:pt x="2299" y="1115"/>
                    <a:pt x="2336" y="1108"/>
                    <a:pt x="2360" y="1100"/>
                  </a:cubicBezTo>
                  <a:lnTo>
                    <a:pt x="2360" y="1076"/>
                  </a:lnTo>
                  <a:close/>
                  <a:moveTo>
                    <a:pt x="2360" y="916"/>
                  </a:moveTo>
                  <a:lnTo>
                    <a:pt x="2360" y="978"/>
                  </a:lnTo>
                  <a:cubicBezTo>
                    <a:pt x="2331" y="950"/>
                    <a:pt x="2318" y="917"/>
                    <a:pt x="2350" y="917"/>
                  </a:cubicBezTo>
                  <a:cubicBezTo>
                    <a:pt x="2353" y="917"/>
                    <a:pt x="2357" y="917"/>
                    <a:pt x="2360" y="916"/>
                  </a:cubicBezTo>
                  <a:close/>
                  <a:moveTo>
                    <a:pt x="2360" y="444"/>
                  </a:moveTo>
                  <a:lnTo>
                    <a:pt x="2360" y="554"/>
                  </a:lnTo>
                  <a:cubicBezTo>
                    <a:pt x="2344" y="555"/>
                    <a:pt x="2328" y="555"/>
                    <a:pt x="2310" y="553"/>
                  </a:cubicBezTo>
                  <a:cubicBezTo>
                    <a:pt x="2288" y="552"/>
                    <a:pt x="2266" y="537"/>
                    <a:pt x="2249" y="519"/>
                  </a:cubicBezTo>
                  <a:lnTo>
                    <a:pt x="2249" y="427"/>
                  </a:lnTo>
                  <a:cubicBezTo>
                    <a:pt x="2290" y="428"/>
                    <a:pt x="2326" y="436"/>
                    <a:pt x="2360" y="444"/>
                  </a:cubicBezTo>
                  <a:close/>
                  <a:moveTo>
                    <a:pt x="2360" y="3446"/>
                  </a:moveTo>
                  <a:cubicBezTo>
                    <a:pt x="2349" y="3443"/>
                    <a:pt x="2338" y="3441"/>
                    <a:pt x="2327" y="3440"/>
                  </a:cubicBezTo>
                  <a:cubicBezTo>
                    <a:pt x="2283" y="3436"/>
                    <a:pt x="2267" y="3372"/>
                    <a:pt x="2249" y="3318"/>
                  </a:cubicBezTo>
                  <a:lnTo>
                    <a:pt x="2249" y="1159"/>
                  </a:lnTo>
                  <a:cubicBezTo>
                    <a:pt x="2293" y="1163"/>
                    <a:pt x="2321" y="1179"/>
                    <a:pt x="2360" y="1192"/>
                  </a:cubicBezTo>
                  <a:lnTo>
                    <a:pt x="2360" y="3446"/>
                  </a:lnTo>
                  <a:close/>
                  <a:moveTo>
                    <a:pt x="2360" y="1100"/>
                  </a:moveTo>
                  <a:lnTo>
                    <a:pt x="2360" y="1076"/>
                  </a:lnTo>
                  <a:cubicBezTo>
                    <a:pt x="2364" y="1077"/>
                    <a:pt x="2369" y="1078"/>
                    <a:pt x="2374" y="1078"/>
                  </a:cubicBezTo>
                  <a:cubicBezTo>
                    <a:pt x="2399" y="1078"/>
                    <a:pt x="2389" y="1090"/>
                    <a:pt x="2360" y="1100"/>
                  </a:cubicBezTo>
                  <a:close/>
                  <a:moveTo>
                    <a:pt x="2435" y="1104"/>
                  </a:moveTo>
                  <a:lnTo>
                    <a:pt x="2435" y="1148"/>
                  </a:lnTo>
                  <a:cubicBezTo>
                    <a:pt x="2417" y="1132"/>
                    <a:pt x="2415" y="1114"/>
                    <a:pt x="2435" y="1104"/>
                  </a:cubicBezTo>
                  <a:close/>
                  <a:moveTo>
                    <a:pt x="2435" y="823"/>
                  </a:moveTo>
                  <a:lnTo>
                    <a:pt x="2435" y="1019"/>
                  </a:lnTo>
                  <a:cubicBezTo>
                    <a:pt x="2408" y="1016"/>
                    <a:pt x="2380" y="998"/>
                    <a:pt x="2360" y="978"/>
                  </a:cubicBezTo>
                  <a:lnTo>
                    <a:pt x="2360" y="916"/>
                  </a:lnTo>
                  <a:cubicBezTo>
                    <a:pt x="2411" y="915"/>
                    <a:pt x="2443" y="898"/>
                    <a:pt x="2415" y="878"/>
                  </a:cubicBezTo>
                  <a:cubicBezTo>
                    <a:pt x="2390" y="860"/>
                    <a:pt x="2401" y="836"/>
                    <a:pt x="2435" y="823"/>
                  </a:cubicBezTo>
                  <a:close/>
                  <a:moveTo>
                    <a:pt x="2435" y="649"/>
                  </a:moveTo>
                  <a:lnTo>
                    <a:pt x="2435" y="745"/>
                  </a:lnTo>
                  <a:cubicBezTo>
                    <a:pt x="2431" y="745"/>
                    <a:pt x="2427" y="744"/>
                    <a:pt x="2423" y="744"/>
                  </a:cubicBezTo>
                  <a:cubicBezTo>
                    <a:pt x="2359" y="740"/>
                    <a:pt x="2363" y="642"/>
                    <a:pt x="2435" y="649"/>
                  </a:cubicBezTo>
                  <a:close/>
                  <a:moveTo>
                    <a:pt x="2435" y="461"/>
                  </a:moveTo>
                  <a:lnTo>
                    <a:pt x="2435" y="553"/>
                  </a:lnTo>
                  <a:cubicBezTo>
                    <a:pt x="2409" y="552"/>
                    <a:pt x="2385" y="554"/>
                    <a:pt x="2360" y="554"/>
                  </a:cubicBezTo>
                  <a:lnTo>
                    <a:pt x="2360" y="444"/>
                  </a:lnTo>
                  <a:cubicBezTo>
                    <a:pt x="2385" y="450"/>
                    <a:pt x="2410" y="456"/>
                    <a:pt x="2435" y="461"/>
                  </a:cubicBezTo>
                  <a:close/>
                  <a:moveTo>
                    <a:pt x="2435" y="335"/>
                  </a:moveTo>
                  <a:lnTo>
                    <a:pt x="2435" y="370"/>
                  </a:lnTo>
                  <a:cubicBezTo>
                    <a:pt x="2424" y="357"/>
                    <a:pt x="2422" y="343"/>
                    <a:pt x="2435" y="335"/>
                  </a:cubicBezTo>
                  <a:close/>
                  <a:moveTo>
                    <a:pt x="2435" y="3475"/>
                  </a:moveTo>
                  <a:cubicBezTo>
                    <a:pt x="2408" y="3464"/>
                    <a:pt x="2383" y="3453"/>
                    <a:pt x="2360" y="3446"/>
                  </a:cubicBezTo>
                  <a:lnTo>
                    <a:pt x="2360" y="1192"/>
                  </a:lnTo>
                  <a:cubicBezTo>
                    <a:pt x="2381" y="1199"/>
                    <a:pt x="2404" y="1205"/>
                    <a:pt x="2435" y="1208"/>
                  </a:cubicBezTo>
                  <a:lnTo>
                    <a:pt x="2435" y="3475"/>
                  </a:lnTo>
                  <a:close/>
                  <a:moveTo>
                    <a:pt x="2435" y="370"/>
                  </a:moveTo>
                  <a:lnTo>
                    <a:pt x="2435" y="335"/>
                  </a:lnTo>
                  <a:cubicBezTo>
                    <a:pt x="2441" y="331"/>
                    <a:pt x="2451" y="329"/>
                    <a:pt x="2466" y="329"/>
                  </a:cubicBezTo>
                  <a:cubicBezTo>
                    <a:pt x="2529" y="323"/>
                    <a:pt x="2569" y="404"/>
                    <a:pt x="2506" y="404"/>
                  </a:cubicBezTo>
                  <a:cubicBezTo>
                    <a:pt x="2477" y="404"/>
                    <a:pt x="2449" y="388"/>
                    <a:pt x="2435" y="370"/>
                  </a:cubicBezTo>
                  <a:close/>
                  <a:moveTo>
                    <a:pt x="2435" y="1019"/>
                  </a:moveTo>
                  <a:lnTo>
                    <a:pt x="2435" y="823"/>
                  </a:lnTo>
                  <a:cubicBezTo>
                    <a:pt x="2442" y="821"/>
                    <a:pt x="2449" y="819"/>
                    <a:pt x="2458" y="817"/>
                  </a:cubicBezTo>
                  <a:cubicBezTo>
                    <a:pt x="2523" y="817"/>
                    <a:pt x="2492" y="938"/>
                    <a:pt x="2527" y="934"/>
                  </a:cubicBezTo>
                  <a:cubicBezTo>
                    <a:pt x="2562" y="930"/>
                    <a:pt x="2514" y="1020"/>
                    <a:pt x="2445" y="1020"/>
                  </a:cubicBezTo>
                  <a:cubicBezTo>
                    <a:pt x="2442" y="1020"/>
                    <a:pt x="2438" y="1020"/>
                    <a:pt x="2435" y="1019"/>
                  </a:cubicBezTo>
                  <a:close/>
                  <a:moveTo>
                    <a:pt x="2563" y="1132"/>
                  </a:moveTo>
                  <a:lnTo>
                    <a:pt x="2563" y="1172"/>
                  </a:lnTo>
                  <a:cubicBezTo>
                    <a:pt x="2556" y="1174"/>
                    <a:pt x="2545" y="1175"/>
                    <a:pt x="2531" y="1175"/>
                  </a:cubicBezTo>
                  <a:cubicBezTo>
                    <a:pt x="2486" y="1175"/>
                    <a:pt x="2453" y="1163"/>
                    <a:pt x="2435" y="1148"/>
                  </a:cubicBezTo>
                  <a:lnTo>
                    <a:pt x="2435" y="1104"/>
                  </a:lnTo>
                  <a:cubicBezTo>
                    <a:pt x="2443" y="1100"/>
                    <a:pt x="2455" y="1098"/>
                    <a:pt x="2471" y="1098"/>
                  </a:cubicBezTo>
                  <a:cubicBezTo>
                    <a:pt x="2503" y="1098"/>
                    <a:pt x="2541" y="1114"/>
                    <a:pt x="2563" y="1132"/>
                  </a:cubicBezTo>
                  <a:close/>
                  <a:moveTo>
                    <a:pt x="2563" y="717"/>
                  </a:moveTo>
                  <a:cubicBezTo>
                    <a:pt x="2556" y="715"/>
                    <a:pt x="2549" y="714"/>
                    <a:pt x="2544" y="714"/>
                  </a:cubicBezTo>
                  <a:cubicBezTo>
                    <a:pt x="2505" y="714"/>
                    <a:pt x="2497" y="649"/>
                    <a:pt x="2436" y="649"/>
                  </a:cubicBezTo>
                  <a:lnTo>
                    <a:pt x="2435" y="649"/>
                  </a:lnTo>
                  <a:lnTo>
                    <a:pt x="2435" y="745"/>
                  </a:lnTo>
                  <a:cubicBezTo>
                    <a:pt x="2476" y="749"/>
                    <a:pt x="2519" y="761"/>
                    <a:pt x="2563" y="768"/>
                  </a:cubicBezTo>
                  <a:lnTo>
                    <a:pt x="2563" y="717"/>
                  </a:lnTo>
                  <a:close/>
                  <a:moveTo>
                    <a:pt x="2563" y="575"/>
                  </a:moveTo>
                  <a:lnTo>
                    <a:pt x="2563" y="658"/>
                  </a:lnTo>
                  <a:cubicBezTo>
                    <a:pt x="2556" y="655"/>
                    <a:pt x="2550" y="650"/>
                    <a:pt x="2549" y="640"/>
                  </a:cubicBezTo>
                  <a:cubicBezTo>
                    <a:pt x="2544" y="615"/>
                    <a:pt x="2552" y="592"/>
                    <a:pt x="2563" y="575"/>
                  </a:cubicBezTo>
                  <a:close/>
                  <a:moveTo>
                    <a:pt x="2563" y="494"/>
                  </a:moveTo>
                  <a:lnTo>
                    <a:pt x="2563" y="563"/>
                  </a:lnTo>
                  <a:cubicBezTo>
                    <a:pt x="2554" y="568"/>
                    <a:pt x="2541" y="570"/>
                    <a:pt x="2523" y="565"/>
                  </a:cubicBezTo>
                  <a:cubicBezTo>
                    <a:pt x="2490" y="556"/>
                    <a:pt x="2461" y="553"/>
                    <a:pt x="2435" y="553"/>
                  </a:cubicBezTo>
                  <a:lnTo>
                    <a:pt x="2435" y="461"/>
                  </a:lnTo>
                  <a:cubicBezTo>
                    <a:pt x="2456" y="465"/>
                    <a:pt x="2477" y="467"/>
                    <a:pt x="2500" y="467"/>
                  </a:cubicBezTo>
                  <a:cubicBezTo>
                    <a:pt x="2529" y="467"/>
                    <a:pt x="2550" y="479"/>
                    <a:pt x="2563" y="494"/>
                  </a:cubicBezTo>
                  <a:moveTo>
                    <a:pt x="2563" y="1084"/>
                  </a:moveTo>
                  <a:cubicBezTo>
                    <a:pt x="2548" y="1071"/>
                    <a:pt x="2543" y="1042"/>
                    <a:pt x="2563" y="1021"/>
                  </a:cubicBezTo>
                  <a:lnTo>
                    <a:pt x="2563" y="1084"/>
                  </a:lnTo>
                  <a:close/>
                  <a:moveTo>
                    <a:pt x="2563" y="3517"/>
                  </a:moveTo>
                  <a:cubicBezTo>
                    <a:pt x="2517" y="3509"/>
                    <a:pt x="2474" y="3491"/>
                    <a:pt x="2435" y="3475"/>
                  </a:cubicBezTo>
                  <a:lnTo>
                    <a:pt x="2435" y="1208"/>
                  </a:lnTo>
                  <a:cubicBezTo>
                    <a:pt x="2448" y="1210"/>
                    <a:pt x="2462" y="1210"/>
                    <a:pt x="2477" y="1210"/>
                  </a:cubicBezTo>
                  <a:cubicBezTo>
                    <a:pt x="2510" y="1210"/>
                    <a:pt x="2539" y="1210"/>
                    <a:pt x="2563" y="1209"/>
                  </a:cubicBezTo>
                  <a:lnTo>
                    <a:pt x="2563" y="3072"/>
                  </a:lnTo>
                  <a:cubicBezTo>
                    <a:pt x="2520" y="3137"/>
                    <a:pt x="2481" y="3253"/>
                    <a:pt x="2523" y="3296"/>
                  </a:cubicBezTo>
                  <a:cubicBezTo>
                    <a:pt x="2536" y="3308"/>
                    <a:pt x="2549" y="3323"/>
                    <a:pt x="2563" y="3338"/>
                  </a:cubicBezTo>
                  <a:lnTo>
                    <a:pt x="2563" y="3517"/>
                  </a:lnTo>
                  <a:close/>
                  <a:moveTo>
                    <a:pt x="2644" y="822"/>
                  </a:moveTo>
                  <a:cubicBezTo>
                    <a:pt x="2570" y="826"/>
                    <a:pt x="2574" y="873"/>
                    <a:pt x="2592" y="917"/>
                  </a:cubicBezTo>
                  <a:cubicBezTo>
                    <a:pt x="2609" y="960"/>
                    <a:pt x="2631" y="960"/>
                    <a:pt x="2644" y="934"/>
                  </a:cubicBezTo>
                  <a:cubicBezTo>
                    <a:pt x="2656" y="908"/>
                    <a:pt x="2726" y="899"/>
                    <a:pt x="2743" y="856"/>
                  </a:cubicBezTo>
                  <a:cubicBezTo>
                    <a:pt x="2760" y="813"/>
                    <a:pt x="2695" y="822"/>
                    <a:pt x="2644" y="822"/>
                  </a:cubicBezTo>
                  <a:close/>
                  <a:moveTo>
                    <a:pt x="2563" y="563"/>
                  </a:moveTo>
                  <a:lnTo>
                    <a:pt x="2563" y="494"/>
                  </a:lnTo>
                  <a:cubicBezTo>
                    <a:pt x="2584" y="518"/>
                    <a:pt x="2586" y="551"/>
                    <a:pt x="2563" y="563"/>
                  </a:cubicBezTo>
                  <a:close/>
                  <a:moveTo>
                    <a:pt x="2563" y="658"/>
                  </a:moveTo>
                  <a:cubicBezTo>
                    <a:pt x="2599" y="670"/>
                    <a:pt x="2683" y="623"/>
                    <a:pt x="2644" y="623"/>
                  </a:cubicBezTo>
                  <a:cubicBezTo>
                    <a:pt x="2596" y="623"/>
                    <a:pt x="2656" y="545"/>
                    <a:pt x="2609" y="545"/>
                  </a:cubicBezTo>
                  <a:cubicBezTo>
                    <a:pt x="2594" y="545"/>
                    <a:pt x="2576" y="557"/>
                    <a:pt x="2563" y="575"/>
                  </a:cubicBezTo>
                  <a:lnTo>
                    <a:pt x="2563" y="658"/>
                  </a:lnTo>
                  <a:close/>
                  <a:moveTo>
                    <a:pt x="2563" y="768"/>
                  </a:moveTo>
                  <a:cubicBezTo>
                    <a:pt x="2585" y="772"/>
                    <a:pt x="2608" y="774"/>
                    <a:pt x="2631" y="774"/>
                  </a:cubicBezTo>
                  <a:cubicBezTo>
                    <a:pt x="2694" y="774"/>
                    <a:pt x="2612" y="729"/>
                    <a:pt x="2563" y="717"/>
                  </a:cubicBezTo>
                  <a:lnTo>
                    <a:pt x="2563" y="768"/>
                  </a:lnTo>
                  <a:close/>
                  <a:moveTo>
                    <a:pt x="2563" y="1172"/>
                  </a:moveTo>
                  <a:cubicBezTo>
                    <a:pt x="2590" y="1165"/>
                    <a:pt x="2584" y="1148"/>
                    <a:pt x="2563" y="1132"/>
                  </a:cubicBezTo>
                  <a:lnTo>
                    <a:pt x="2563" y="1172"/>
                  </a:lnTo>
                  <a:close/>
                  <a:moveTo>
                    <a:pt x="2776" y="681"/>
                  </a:moveTo>
                  <a:lnTo>
                    <a:pt x="2776" y="779"/>
                  </a:lnTo>
                  <a:cubicBezTo>
                    <a:pt x="2748" y="788"/>
                    <a:pt x="2734" y="796"/>
                    <a:pt x="2708" y="767"/>
                  </a:cubicBezTo>
                  <a:cubicBezTo>
                    <a:pt x="2667" y="720"/>
                    <a:pt x="2627" y="640"/>
                    <a:pt x="2702" y="651"/>
                  </a:cubicBezTo>
                  <a:cubicBezTo>
                    <a:pt x="2732" y="637"/>
                    <a:pt x="2745" y="662"/>
                    <a:pt x="2776" y="681"/>
                  </a:cubicBezTo>
                  <a:close/>
                  <a:moveTo>
                    <a:pt x="2776" y="550"/>
                  </a:moveTo>
                  <a:lnTo>
                    <a:pt x="2776" y="600"/>
                  </a:lnTo>
                  <a:cubicBezTo>
                    <a:pt x="2771" y="602"/>
                    <a:pt x="2764" y="602"/>
                    <a:pt x="2756" y="602"/>
                  </a:cubicBezTo>
                  <a:cubicBezTo>
                    <a:pt x="2691" y="597"/>
                    <a:pt x="2691" y="545"/>
                    <a:pt x="2751" y="545"/>
                  </a:cubicBezTo>
                  <a:cubicBezTo>
                    <a:pt x="2761" y="545"/>
                    <a:pt x="2769" y="546"/>
                    <a:pt x="2776" y="550"/>
                  </a:cubicBezTo>
                  <a:close/>
                  <a:moveTo>
                    <a:pt x="2776" y="335"/>
                  </a:moveTo>
                  <a:cubicBezTo>
                    <a:pt x="2774" y="335"/>
                    <a:pt x="2773" y="335"/>
                    <a:pt x="2771" y="334"/>
                  </a:cubicBezTo>
                  <a:cubicBezTo>
                    <a:pt x="2719" y="329"/>
                    <a:pt x="2731" y="242"/>
                    <a:pt x="2621" y="254"/>
                  </a:cubicBezTo>
                  <a:cubicBezTo>
                    <a:pt x="2529" y="248"/>
                    <a:pt x="2656" y="369"/>
                    <a:pt x="2644" y="438"/>
                  </a:cubicBezTo>
                  <a:cubicBezTo>
                    <a:pt x="2634" y="501"/>
                    <a:pt x="2699" y="535"/>
                    <a:pt x="2776" y="502"/>
                  </a:cubicBezTo>
                  <a:lnTo>
                    <a:pt x="2776" y="335"/>
                  </a:lnTo>
                  <a:close/>
                  <a:moveTo>
                    <a:pt x="2776" y="191"/>
                  </a:moveTo>
                  <a:lnTo>
                    <a:pt x="2776" y="266"/>
                  </a:lnTo>
                  <a:cubicBezTo>
                    <a:pt x="2708" y="236"/>
                    <a:pt x="2669" y="194"/>
                    <a:pt x="2776" y="191"/>
                  </a:cubicBezTo>
                  <a:close/>
                  <a:moveTo>
                    <a:pt x="2563" y="1209"/>
                  </a:moveTo>
                  <a:cubicBezTo>
                    <a:pt x="2638" y="1206"/>
                    <a:pt x="2670" y="1196"/>
                    <a:pt x="2644" y="1170"/>
                  </a:cubicBezTo>
                  <a:cubicBezTo>
                    <a:pt x="2610" y="1135"/>
                    <a:pt x="2604" y="1095"/>
                    <a:pt x="2575" y="1089"/>
                  </a:cubicBezTo>
                  <a:cubicBezTo>
                    <a:pt x="2571" y="1088"/>
                    <a:pt x="2567" y="1086"/>
                    <a:pt x="2563" y="1084"/>
                  </a:cubicBezTo>
                  <a:lnTo>
                    <a:pt x="2563" y="1021"/>
                  </a:lnTo>
                  <a:cubicBezTo>
                    <a:pt x="2568" y="1016"/>
                    <a:pt x="2574" y="1012"/>
                    <a:pt x="2581" y="1009"/>
                  </a:cubicBezTo>
                  <a:cubicBezTo>
                    <a:pt x="2627" y="986"/>
                    <a:pt x="2639" y="945"/>
                    <a:pt x="2667" y="991"/>
                  </a:cubicBezTo>
                  <a:cubicBezTo>
                    <a:pt x="2696" y="1037"/>
                    <a:pt x="2650" y="1101"/>
                    <a:pt x="2713" y="1095"/>
                  </a:cubicBezTo>
                  <a:cubicBezTo>
                    <a:pt x="2776" y="1089"/>
                    <a:pt x="2737" y="1197"/>
                    <a:pt x="2776" y="1170"/>
                  </a:cubicBezTo>
                  <a:lnTo>
                    <a:pt x="2776" y="1459"/>
                  </a:lnTo>
                  <a:cubicBezTo>
                    <a:pt x="2753" y="1473"/>
                    <a:pt x="2764" y="1505"/>
                    <a:pt x="2719" y="1510"/>
                  </a:cubicBezTo>
                  <a:cubicBezTo>
                    <a:pt x="2662" y="1516"/>
                    <a:pt x="2673" y="1619"/>
                    <a:pt x="2644" y="1637"/>
                  </a:cubicBezTo>
                  <a:cubicBezTo>
                    <a:pt x="2615" y="1654"/>
                    <a:pt x="2662" y="1688"/>
                    <a:pt x="2667" y="1735"/>
                  </a:cubicBezTo>
                  <a:cubicBezTo>
                    <a:pt x="2672" y="1774"/>
                    <a:pt x="2698" y="1792"/>
                    <a:pt x="2776" y="1821"/>
                  </a:cubicBezTo>
                  <a:lnTo>
                    <a:pt x="2776" y="3008"/>
                  </a:lnTo>
                  <a:cubicBezTo>
                    <a:pt x="2719" y="3031"/>
                    <a:pt x="2644" y="2991"/>
                    <a:pt x="2592" y="3037"/>
                  </a:cubicBezTo>
                  <a:cubicBezTo>
                    <a:pt x="2583" y="3045"/>
                    <a:pt x="2573" y="3057"/>
                    <a:pt x="2563" y="3072"/>
                  </a:cubicBezTo>
                  <a:lnTo>
                    <a:pt x="2563" y="1209"/>
                  </a:lnTo>
                  <a:close/>
                  <a:moveTo>
                    <a:pt x="2776" y="3597"/>
                  </a:moveTo>
                  <a:cubicBezTo>
                    <a:pt x="2722" y="3569"/>
                    <a:pt x="2674" y="3525"/>
                    <a:pt x="2598" y="3521"/>
                  </a:cubicBezTo>
                  <a:cubicBezTo>
                    <a:pt x="2586" y="3520"/>
                    <a:pt x="2575" y="3519"/>
                    <a:pt x="2563" y="3517"/>
                  </a:cubicBezTo>
                  <a:lnTo>
                    <a:pt x="2563" y="3338"/>
                  </a:lnTo>
                  <a:cubicBezTo>
                    <a:pt x="2610" y="3385"/>
                    <a:pt x="2664" y="3432"/>
                    <a:pt x="2708" y="3388"/>
                  </a:cubicBezTo>
                  <a:cubicBezTo>
                    <a:pt x="2726" y="3370"/>
                    <a:pt x="2750" y="3347"/>
                    <a:pt x="2776" y="3326"/>
                  </a:cubicBezTo>
                  <a:lnTo>
                    <a:pt x="2776" y="3597"/>
                  </a:lnTo>
                  <a:close/>
                  <a:moveTo>
                    <a:pt x="2776" y="502"/>
                  </a:moveTo>
                  <a:cubicBezTo>
                    <a:pt x="2784" y="499"/>
                    <a:pt x="2792" y="495"/>
                    <a:pt x="2800" y="490"/>
                  </a:cubicBezTo>
                  <a:cubicBezTo>
                    <a:pt x="2883" y="440"/>
                    <a:pt x="2827" y="347"/>
                    <a:pt x="2776" y="335"/>
                  </a:cubicBezTo>
                  <a:lnTo>
                    <a:pt x="2776" y="502"/>
                  </a:lnTo>
                  <a:close/>
                  <a:moveTo>
                    <a:pt x="2776" y="600"/>
                  </a:moveTo>
                  <a:lnTo>
                    <a:pt x="2776" y="550"/>
                  </a:lnTo>
                  <a:cubicBezTo>
                    <a:pt x="2800" y="562"/>
                    <a:pt x="2806" y="593"/>
                    <a:pt x="2776" y="600"/>
                  </a:cubicBezTo>
                  <a:close/>
                  <a:moveTo>
                    <a:pt x="2986" y="1517"/>
                  </a:moveTo>
                  <a:lnTo>
                    <a:pt x="2986" y="1528"/>
                  </a:lnTo>
                  <a:cubicBezTo>
                    <a:pt x="2985" y="1524"/>
                    <a:pt x="2985" y="1521"/>
                    <a:pt x="2986" y="1517"/>
                  </a:cubicBezTo>
                  <a:close/>
                  <a:moveTo>
                    <a:pt x="2986" y="1359"/>
                  </a:moveTo>
                  <a:cubicBezTo>
                    <a:pt x="2978" y="1356"/>
                    <a:pt x="2969" y="1354"/>
                    <a:pt x="2961" y="1354"/>
                  </a:cubicBezTo>
                  <a:cubicBezTo>
                    <a:pt x="2898" y="1366"/>
                    <a:pt x="2857" y="1400"/>
                    <a:pt x="2892" y="1470"/>
                  </a:cubicBezTo>
                  <a:cubicBezTo>
                    <a:pt x="2914" y="1514"/>
                    <a:pt x="2946" y="1490"/>
                    <a:pt x="2986" y="1473"/>
                  </a:cubicBezTo>
                  <a:lnTo>
                    <a:pt x="2986" y="1359"/>
                  </a:lnTo>
                  <a:close/>
                  <a:moveTo>
                    <a:pt x="2986" y="820"/>
                  </a:moveTo>
                  <a:lnTo>
                    <a:pt x="2986" y="1077"/>
                  </a:lnTo>
                  <a:cubicBezTo>
                    <a:pt x="2912" y="1068"/>
                    <a:pt x="2811" y="999"/>
                    <a:pt x="2811" y="945"/>
                  </a:cubicBezTo>
                  <a:cubicBezTo>
                    <a:pt x="2811" y="890"/>
                    <a:pt x="2848" y="830"/>
                    <a:pt x="2986" y="820"/>
                  </a:cubicBezTo>
                  <a:close/>
                  <a:moveTo>
                    <a:pt x="2986" y="703"/>
                  </a:moveTo>
                  <a:cubicBezTo>
                    <a:pt x="2936" y="698"/>
                    <a:pt x="2885" y="696"/>
                    <a:pt x="2852" y="697"/>
                  </a:cubicBezTo>
                  <a:cubicBezTo>
                    <a:pt x="2817" y="700"/>
                    <a:pt x="2794" y="691"/>
                    <a:pt x="2776" y="681"/>
                  </a:cubicBezTo>
                  <a:lnTo>
                    <a:pt x="2776" y="779"/>
                  </a:lnTo>
                  <a:cubicBezTo>
                    <a:pt x="2792" y="775"/>
                    <a:pt x="2812" y="770"/>
                    <a:pt x="2840" y="772"/>
                  </a:cubicBezTo>
                  <a:cubicBezTo>
                    <a:pt x="2879" y="775"/>
                    <a:pt x="2933" y="785"/>
                    <a:pt x="2986" y="789"/>
                  </a:cubicBezTo>
                  <a:lnTo>
                    <a:pt x="2986" y="703"/>
                  </a:lnTo>
                  <a:close/>
                  <a:moveTo>
                    <a:pt x="2986" y="358"/>
                  </a:moveTo>
                  <a:lnTo>
                    <a:pt x="2986" y="668"/>
                  </a:lnTo>
                  <a:cubicBezTo>
                    <a:pt x="2906" y="678"/>
                    <a:pt x="2814" y="693"/>
                    <a:pt x="2823" y="640"/>
                  </a:cubicBezTo>
                  <a:cubicBezTo>
                    <a:pt x="2834" y="571"/>
                    <a:pt x="2875" y="519"/>
                    <a:pt x="2944" y="496"/>
                  </a:cubicBezTo>
                  <a:cubicBezTo>
                    <a:pt x="3011" y="473"/>
                    <a:pt x="2859" y="374"/>
                    <a:pt x="2986" y="358"/>
                  </a:cubicBezTo>
                  <a:close/>
                  <a:moveTo>
                    <a:pt x="2986" y="142"/>
                  </a:moveTo>
                  <a:lnTo>
                    <a:pt x="2986" y="289"/>
                  </a:lnTo>
                  <a:cubicBezTo>
                    <a:pt x="2891" y="292"/>
                    <a:pt x="2881" y="302"/>
                    <a:pt x="2806" y="277"/>
                  </a:cubicBezTo>
                  <a:cubicBezTo>
                    <a:pt x="2795" y="273"/>
                    <a:pt x="2786" y="270"/>
                    <a:pt x="2776" y="266"/>
                  </a:cubicBezTo>
                  <a:lnTo>
                    <a:pt x="2776" y="191"/>
                  </a:lnTo>
                  <a:cubicBezTo>
                    <a:pt x="2780" y="190"/>
                    <a:pt x="2784" y="190"/>
                    <a:pt x="2788" y="190"/>
                  </a:cubicBezTo>
                  <a:cubicBezTo>
                    <a:pt x="2849" y="190"/>
                    <a:pt x="2917" y="167"/>
                    <a:pt x="2986" y="142"/>
                  </a:cubicBezTo>
                  <a:close/>
                  <a:moveTo>
                    <a:pt x="2776" y="1821"/>
                  </a:moveTo>
                  <a:cubicBezTo>
                    <a:pt x="2790" y="1827"/>
                    <a:pt x="2806" y="1832"/>
                    <a:pt x="2823" y="1838"/>
                  </a:cubicBezTo>
                  <a:cubicBezTo>
                    <a:pt x="2884" y="1860"/>
                    <a:pt x="2944" y="1876"/>
                    <a:pt x="2986" y="1895"/>
                  </a:cubicBezTo>
                  <a:lnTo>
                    <a:pt x="2986" y="3020"/>
                  </a:lnTo>
                  <a:cubicBezTo>
                    <a:pt x="2918" y="2963"/>
                    <a:pt x="2827" y="2988"/>
                    <a:pt x="2777" y="3008"/>
                  </a:cubicBezTo>
                  <a:lnTo>
                    <a:pt x="2776" y="3008"/>
                  </a:lnTo>
                  <a:lnTo>
                    <a:pt x="2776" y="1821"/>
                  </a:lnTo>
                  <a:close/>
                  <a:moveTo>
                    <a:pt x="2776" y="1170"/>
                  </a:moveTo>
                  <a:lnTo>
                    <a:pt x="2777" y="1170"/>
                  </a:lnTo>
                  <a:cubicBezTo>
                    <a:pt x="2817" y="1141"/>
                    <a:pt x="2857" y="1164"/>
                    <a:pt x="2863" y="1210"/>
                  </a:cubicBezTo>
                  <a:cubicBezTo>
                    <a:pt x="2869" y="1256"/>
                    <a:pt x="2909" y="1245"/>
                    <a:pt x="2909" y="1193"/>
                  </a:cubicBezTo>
                  <a:cubicBezTo>
                    <a:pt x="2909" y="1145"/>
                    <a:pt x="2934" y="1117"/>
                    <a:pt x="2986" y="1117"/>
                  </a:cubicBezTo>
                  <a:lnTo>
                    <a:pt x="2986" y="1312"/>
                  </a:lnTo>
                  <a:cubicBezTo>
                    <a:pt x="2933" y="1321"/>
                    <a:pt x="2886" y="1343"/>
                    <a:pt x="2886" y="1343"/>
                  </a:cubicBezTo>
                  <a:cubicBezTo>
                    <a:pt x="2886" y="1343"/>
                    <a:pt x="2869" y="1452"/>
                    <a:pt x="2806" y="1452"/>
                  </a:cubicBezTo>
                  <a:cubicBezTo>
                    <a:pt x="2792" y="1452"/>
                    <a:pt x="2783" y="1455"/>
                    <a:pt x="2776" y="1459"/>
                  </a:cubicBezTo>
                  <a:lnTo>
                    <a:pt x="2776" y="1170"/>
                  </a:lnTo>
                  <a:close/>
                  <a:moveTo>
                    <a:pt x="2868" y="3619"/>
                  </a:moveTo>
                  <a:cubicBezTo>
                    <a:pt x="2865" y="3619"/>
                    <a:pt x="2861" y="3619"/>
                    <a:pt x="2857" y="3619"/>
                  </a:cubicBezTo>
                  <a:cubicBezTo>
                    <a:pt x="2827" y="3619"/>
                    <a:pt x="2801" y="3610"/>
                    <a:pt x="2776" y="3597"/>
                  </a:cubicBezTo>
                  <a:lnTo>
                    <a:pt x="2776" y="3326"/>
                  </a:lnTo>
                  <a:cubicBezTo>
                    <a:pt x="2833" y="3279"/>
                    <a:pt x="2895" y="3239"/>
                    <a:pt x="2895" y="3276"/>
                  </a:cubicBezTo>
                  <a:cubicBezTo>
                    <a:pt x="2895" y="3329"/>
                    <a:pt x="2852" y="3474"/>
                    <a:pt x="2893" y="3516"/>
                  </a:cubicBezTo>
                  <a:cubicBezTo>
                    <a:pt x="2900" y="3523"/>
                    <a:pt x="2909" y="3526"/>
                    <a:pt x="2921" y="3526"/>
                  </a:cubicBezTo>
                  <a:cubicBezTo>
                    <a:pt x="3007" y="3526"/>
                    <a:pt x="2950" y="3590"/>
                    <a:pt x="2984" y="3647"/>
                  </a:cubicBezTo>
                  <a:lnTo>
                    <a:pt x="2986" y="3651"/>
                  </a:lnTo>
                  <a:lnTo>
                    <a:pt x="2986" y="3791"/>
                  </a:lnTo>
                  <a:cubicBezTo>
                    <a:pt x="2961" y="3741"/>
                    <a:pt x="2952" y="3628"/>
                    <a:pt x="2868" y="3619"/>
                  </a:cubicBezTo>
                  <a:close/>
                  <a:moveTo>
                    <a:pt x="2986" y="1528"/>
                  </a:moveTo>
                  <a:lnTo>
                    <a:pt x="2986" y="1517"/>
                  </a:lnTo>
                  <a:cubicBezTo>
                    <a:pt x="2990" y="1510"/>
                    <a:pt x="3001" y="1504"/>
                    <a:pt x="3023" y="1499"/>
                  </a:cubicBezTo>
                  <a:cubicBezTo>
                    <a:pt x="3097" y="1482"/>
                    <a:pt x="3088" y="1538"/>
                    <a:pt x="3053" y="1551"/>
                  </a:cubicBezTo>
                  <a:cubicBezTo>
                    <a:pt x="3032" y="1559"/>
                    <a:pt x="2994" y="1544"/>
                    <a:pt x="2986" y="1528"/>
                  </a:cubicBezTo>
                  <a:close/>
                  <a:moveTo>
                    <a:pt x="3082" y="3245"/>
                  </a:moveTo>
                  <a:lnTo>
                    <a:pt x="3082" y="3304"/>
                  </a:lnTo>
                  <a:cubicBezTo>
                    <a:pt x="3029" y="3288"/>
                    <a:pt x="3001" y="3235"/>
                    <a:pt x="3065" y="3243"/>
                  </a:cubicBezTo>
                  <a:cubicBezTo>
                    <a:pt x="3071" y="3243"/>
                    <a:pt x="3077" y="3244"/>
                    <a:pt x="3082" y="3245"/>
                  </a:cubicBezTo>
                  <a:moveTo>
                    <a:pt x="3082" y="1432"/>
                  </a:moveTo>
                  <a:lnTo>
                    <a:pt x="3082" y="1466"/>
                  </a:lnTo>
                  <a:cubicBezTo>
                    <a:pt x="3078" y="1467"/>
                    <a:pt x="3072" y="1466"/>
                    <a:pt x="3065" y="1464"/>
                  </a:cubicBezTo>
                  <a:cubicBezTo>
                    <a:pt x="3036" y="1455"/>
                    <a:pt x="3009" y="1463"/>
                    <a:pt x="2986" y="1473"/>
                  </a:cubicBezTo>
                  <a:lnTo>
                    <a:pt x="2986" y="1359"/>
                  </a:lnTo>
                  <a:cubicBezTo>
                    <a:pt x="3024" y="1370"/>
                    <a:pt x="3064" y="1405"/>
                    <a:pt x="3082" y="1432"/>
                  </a:cubicBezTo>
                  <a:close/>
                  <a:moveTo>
                    <a:pt x="3082" y="824"/>
                  </a:moveTo>
                  <a:lnTo>
                    <a:pt x="3082" y="1080"/>
                  </a:lnTo>
                  <a:cubicBezTo>
                    <a:pt x="3052" y="1078"/>
                    <a:pt x="3024" y="1078"/>
                    <a:pt x="3002" y="1078"/>
                  </a:cubicBezTo>
                  <a:cubicBezTo>
                    <a:pt x="2997" y="1078"/>
                    <a:pt x="2992" y="1077"/>
                    <a:pt x="2986" y="1077"/>
                  </a:cubicBezTo>
                  <a:lnTo>
                    <a:pt x="2986" y="820"/>
                  </a:lnTo>
                  <a:cubicBezTo>
                    <a:pt x="2993" y="819"/>
                    <a:pt x="3000" y="819"/>
                    <a:pt x="3007" y="818"/>
                  </a:cubicBezTo>
                  <a:cubicBezTo>
                    <a:pt x="3027" y="817"/>
                    <a:pt x="3054" y="819"/>
                    <a:pt x="3082" y="824"/>
                  </a:cubicBezTo>
                  <a:moveTo>
                    <a:pt x="3082" y="718"/>
                  </a:moveTo>
                  <a:lnTo>
                    <a:pt x="3082" y="786"/>
                  </a:lnTo>
                  <a:cubicBezTo>
                    <a:pt x="3053" y="791"/>
                    <a:pt x="3020" y="791"/>
                    <a:pt x="2986" y="789"/>
                  </a:cubicBezTo>
                  <a:lnTo>
                    <a:pt x="2986" y="703"/>
                  </a:lnTo>
                  <a:cubicBezTo>
                    <a:pt x="3021" y="706"/>
                    <a:pt x="3055" y="712"/>
                    <a:pt x="3082" y="718"/>
                  </a:cubicBezTo>
                  <a:close/>
                  <a:moveTo>
                    <a:pt x="3082" y="342"/>
                  </a:moveTo>
                  <a:lnTo>
                    <a:pt x="3082" y="658"/>
                  </a:lnTo>
                  <a:cubicBezTo>
                    <a:pt x="3073" y="661"/>
                    <a:pt x="3064" y="663"/>
                    <a:pt x="3053" y="663"/>
                  </a:cubicBezTo>
                  <a:cubicBezTo>
                    <a:pt x="3034" y="663"/>
                    <a:pt x="3011" y="665"/>
                    <a:pt x="2986" y="668"/>
                  </a:cubicBezTo>
                  <a:lnTo>
                    <a:pt x="2986" y="358"/>
                  </a:lnTo>
                  <a:cubicBezTo>
                    <a:pt x="2989" y="358"/>
                    <a:pt x="2992" y="358"/>
                    <a:pt x="2996" y="358"/>
                  </a:cubicBezTo>
                  <a:cubicBezTo>
                    <a:pt x="3031" y="355"/>
                    <a:pt x="3061" y="349"/>
                    <a:pt x="3082" y="342"/>
                  </a:cubicBezTo>
                  <a:close/>
                  <a:moveTo>
                    <a:pt x="3082" y="108"/>
                  </a:moveTo>
                  <a:lnTo>
                    <a:pt x="3082" y="291"/>
                  </a:lnTo>
                  <a:cubicBezTo>
                    <a:pt x="3070" y="289"/>
                    <a:pt x="3054" y="288"/>
                    <a:pt x="3036" y="288"/>
                  </a:cubicBezTo>
                  <a:cubicBezTo>
                    <a:pt x="3017" y="288"/>
                    <a:pt x="3001" y="289"/>
                    <a:pt x="2986" y="289"/>
                  </a:cubicBezTo>
                  <a:lnTo>
                    <a:pt x="2986" y="142"/>
                  </a:lnTo>
                  <a:cubicBezTo>
                    <a:pt x="3018" y="130"/>
                    <a:pt x="3050" y="119"/>
                    <a:pt x="3082" y="108"/>
                  </a:cubicBezTo>
                  <a:close/>
                  <a:moveTo>
                    <a:pt x="2986" y="3651"/>
                  </a:moveTo>
                  <a:cubicBezTo>
                    <a:pt x="3011" y="3691"/>
                    <a:pt x="3047" y="3722"/>
                    <a:pt x="3082" y="3730"/>
                  </a:cubicBezTo>
                  <a:lnTo>
                    <a:pt x="3082" y="3820"/>
                  </a:lnTo>
                  <a:cubicBezTo>
                    <a:pt x="3042" y="3820"/>
                    <a:pt x="3003" y="3818"/>
                    <a:pt x="2990" y="3797"/>
                  </a:cubicBezTo>
                  <a:cubicBezTo>
                    <a:pt x="2989" y="3795"/>
                    <a:pt x="2987" y="3793"/>
                    <a:pt x="2986" y="3791"/>
                  </a:cubicBezTo>
                  <a:lnTo>
                    <a:pt x="2986" y="3651"/>
                  </a:lnTo>
                  <a:close/>
                  <a:moveTo>
                    <a:pt x="2986" y="1895"/>
                  </a:moveTo>
                  <a:cubicBezTo>
                    <a:pt x="3024" y="1911"/>
                    <a:pt x="3048" y="1929"/>
                    <a:pt x="3048" y="1953"/>
                  </a:cubicBezTo>
                  <a:cubicBezTo>
                    <a:pt x="3048" y="1979"/>
                    <a:pt x="3065" y="2026"/>
                    <a:pt x="3082" y="2053"/>
                  </a:cubicBezTo>
                  <a:lnTo>
                    <a:pt x="3082" y="3122"/>
                  </a:lnTo>
                  <a:cubicBezTo>
                    <a:pt x="3067" y="3114"/>
                    <a:pt x="3044" y="3089"/>
                    <a:pt x="3013" y="3048"/>
                  </a:cubicBezTo>
                  <a:cubicBezTo>
                    <a:pt x="3005" y="3037"/>
                    <a:pt x="2996" y="3028"/>
                    <a:pt x="2986" y="3020"/>
                  </a:cubicBezTo>
                  <a:lnTo>
                    <a:pt x="2986" y="1895"/>
                  </a:lnTo>
                  <a:close/>
                  <a:moveTo>
                    <a:pt x="2986" y="1117"/>
                  </a:moveTo>
                  <a:cubicBezTo>
                    <a:pt x="2991" y="1117"/>
                    <a:pt x="2996" y="1118"/>
                    <a:pt x="3002" y="1118"/>
                  </a:cubicBezTo>
                  <a:cubicBezTo>
                    <a:pt x="3065" y="1124"/>
                    <a:pt x="3099" y="1308"/>
                    <a:pt x="3030" y="1308"/>
                  </a:cubicBezTo>
                  <a:cubicBezTo>
                    <a:pt x="3016" y="1308"/>
                    <a:pt x="3001" y="1310"/>
                    <a:pt x="2986" y="1312"/>
                  </a:cubicBezTo>
                  <a:lnTo>
                    <a:pt x="2986" y="1117"/>
                  </a:lnTo>
                  <a:close/>
                  <a:moveTo>
                    <a:pt x="3082" y="786"/>
                  </a:moveTo>
                  <a:lnTo>
                    <a:pt x="3082" y="718"/>
                  </a:lnTo>
                  <a:cubicBezTo>
                    <a:pt x="3134" y="730"/>
                    <a:pt x="3164" y="747"/>
                    <a:pt x="3134" y="767"/>
                  </a:cubicBezTo>
                  <a:cubicBezTo>
                    <a:pt x="3120" y="776"/>
                    <a:pt x="3102" y="782"/>
                    <a:pt x="3082" y="786"/>
                  </a:cubicBezTo>
                  <a:close/>
                  <a:moveTo>
                    <a:pt x="3082" y="1466"/>
                  </a:moveTo>
                  <a:lnTo>
                    <a:pt x="3082" y="1432"/>
                  </a:lnTo>
                  <a:cubicBezTo>
                    <a:pt x="3095" y="1450"/>
                    <a:pt x="3098" y="1465"/>
                    <a:pt x="3082" y="1466"/>
                  </a:cubicBezTo>
                  <a:close/>
                  <a:moveTo>
                    <a:pt x="3082" y="3304"/>
                  </a:moveTo>
                  <a:lnTo>
                    <a:pt x="3082" y="3245"/>
                  </a:lnTo>
                  <a:cubicBezTo>
                    <a:pt x="3134" y="3256"/>
                    <a:pt x="3163" y="3314"/>
                    <a:pt x="3103" y="3309"/>
                  </a:cubicBezTo>
                  <a:cubicBezTo>
                    <a:pt x="3096" y="3308"/>
                    <a:pt x="3089" y="3306"/>
                    <a:pt x="3082" y="3304"/>
                  </a:cubicBezTo>
                  <a:close/>
                  <a:moveTo>
                    <a:pt x="3217" y="3315"/>
                  </a:moveTo>
                  <a:lnTo>
                    <a:pt x="3217" y="3359"/>
                  </a:lnTo>
                  <a:cubicBezTo>
                    <a:pt x="3177" y="3346"/>
                    <a:pt x="3158" y="3315"/>
                    <a:pt x="3205" y="3315"/>
                  </a:cubicBezTo>
                  <a:cubicBezTo>
                    <a:pt x="3209" y="3314"/>
                    <a:pt x="3213" y="3314"/>
                    <a:pt x="3217" y="3315"/>
                  </a:cubicBezTo>
                  <a:close/>
                  <a:moveTo>
                    <a:pt x="3217" y="3152"/>
                  </a:moveTo>
                  <a:lnTo>
                    <a:pt x="3217" y="3225"/>
                  </a:lnTo>
                  <a:cubicBezTo>
                    <a:pt x="3196" y="3231"/>
                    <a:pt x="3178" y="3241"/>
                    <a:pt x="3160" y="3231"/>
                  </a:cubicBezTo>
                  <a:cubicBezTo>
                    <a:pt x="3127" y="3213"/>
                    <a:pt x="3136" y="3156"/>
                    <a:pt x="3190" y="3148"/>
                  </a:cubicBezTo>
                  <a:cubicBezTo>
                    <a:pt x="3199" y="3148"/>
                    <a:pt x="3208" y="3149"/>
                    <a:pt x="3217" y="3152"/>
                  </a:cubicBezTo>
                  <a:moveTo>
                    <a:pt x="3217" y="1354"/>
                  </a:moveTo>
                  <a:lnTo>
                    <a:pt x="3217" y="1443"/>
                  </a:lnTo>
                  <a:cubicBezTo>
                    <a:pt x="3142" y="1425"/>
                    <a:pt x="3131" y="1359"/>
                    <a:pt x="3209" y="1354"/>
                  </a:cubicBezTo>
                  <a:cubicBezTo>
                    <a:pt x="3212" y="1354"/>
                    <a:pt x="3214" y="1354"/>
                    <a:pt x="3217" y="1354"/>
                  </a:cubicBezTo>
                  <a:close/>
                  <a:moveTo>
                    <a:pt x="3217" y="1176"/>
                  </a:moveTo>
                  <a:lnTo>
                    <a:pt x="3217" y="1251"/>
                  </a:lnTo>
                  <a:cubicBezTo>
                    <a:pt x="3169" y="1264"/>
                    <a:pt x="3143" y="1214"/>
                    <a:pt x="3196" y="1180"/>
                  </a:cubicBezTo>
                  <a:cubicBezTo>
                    <a:pt x="3203" y="1177"/>
                    <a:pt x="3210" y="1176"/>
                    <a:pt x="3217" y="1176"/>
                  </a:cubicBezTo>
                  <a:close/>
                  <a:moveTo>
                    <a:pt x="3217" y="861"/>
                  </a:moveTo>
                  <a:lnTo>
                    <a:pt x="3217" y="900"/>
                  </a:lnTo>
                  <a:cubicBezTo>
                    <a:pt x="3193" y="907"/>
                    <a:pt x="3197" y="917"/>
                    <a:pt x="3217" y="928"/>
                  </a:cubicBezTo>
                  <a:lnTo>
                    <a:pt x="3217" y="1104"/>
                  </a:lnTo>
                  <a:cubicBezTo>
                    <a:pt x="3173" y="1090"/>
                    <a:pt x="3125" y="1084"/>
                    <a:pt x="3082" y="1080"/>
                  </a:cubicBezTo>
                  <a:lnTo>
                    <a:pt x="3082" y="824"/>
                  </a:lnTo>
                  <a:cubicBezTo>
                    <a:pt x="3131" y="832"/>
                    <a:pt x="3185" y="846"/>
                    <a:pt x="3217" y="861"/>
                  </a:cubicBezTo>
                  <a:moveTo>
                    <a:pt x="3217" y="81"/>
                  </a:moveTo>
                  <a:lnTo>
                    <a:pt x="3217" y="544"/>
                  </a:lnTo>
                  <a:cubicBezTo>
                    <a:pt x="3179" y="556"/>
                    <a:pt x="3141" y="636"/>
                    <a:pt x="3082" y="658"/>
                  </a:cubicBezTo>
                  <a:lnTo>
                    <a:pt x="3082" y="342"/>
                  </a:lnTo>
                  <a:cubicBezTo>
                    <a:pt x="3137" y="325"/>
                    <a:pt x="3144" y="299"/>
                    <a:pt x="3082" y="291"/>
                  </a:cubicBezTo>
                  <a:lnTo>
                    <a:pt x="3082" y="108"/>
                  </a:lnTo>
                  <a:cubicBezTo>
                    <a:pt x="3127" y="94"/>
                    <a:pt x="3172" y="83"/>
                    <a:pt x="3217" y="81"/>
                  </a:cubicBezTo>
                  <a:close/>
                  <a:moveTo>
                    <a:pt x="3082" y="3730"/>
                  </a:moveTo>
                  <a:cubicBezTo>
                    <a:pt x="3096" y="3733"/>
                    <a:pt x="3110" y="3733"/>
                    <a:pt x="3123" y="3728"/>
                  </a:cubicBezTo>
                  <a:cubicBezTo>
                    <a:pt x="3147" y="3719"/>
                    <a:pt x="3182" y="3724"/>
                    <a:pt x="3217" y="3727"/>
                  </a:cubicBezTo>
                  <a:lnTo>
                    <a:pt x="3217" y="3803"/>
                  </a:lnTo>
                  <a:lnTo>
                    <a:pt x="3188" y="3847"/>
                  </a:lnTo>
                  <a:lnTo>
                    <a:pt x="3186" y="3843"/>
                  </a:lnTo>
                  <a:cubicBezTo>
                    <a:pt x="3174" y="3819"/>
                    <a:pt x="3127" y="3820"/>
                    <a:pt x="3082" y="3820"/>
                  </a:cubicBezTo>
                  <a:lnTo>
                    <a:pt x="3082" y="3730"/>
                  </a:lnTo>
                  <a:close/>
                  <a:moveTo>
                    <a:pt x="3082" y="2053"/>
                  </a:moveTo>
                  <a:cubicBezTo>
                    <a:pt x="3101" y="2082"/>
                    <a:pt x="3120" y="2089"/>
                    <a:pt x="3123" y="2034"/>
                  </a:cubicBezTo>
                  <a:cubicBezTo>
                    <a:pt x="3128" y="1925"/>
                    <a:pt x="3128" y="1856"/>
                    <a:pt x="3174" y="1856"/>
                  </a:cubicBezTo>
                  <a:cubicBezTo>
                    <a:pt x="3220" y="1856"/>
                    <a:pt x="3180" y="1798"/>
                    <a:pt x="3163" y="1717"/>
                  </a:cubicBezTo>
                  <a:cubicBezTo>
                    <a:pt x="3147" y="1644"/>
                    <a:pt x="3131" y="1541"/>
                    <a:pt x="3217" y="1515"/>
                  </a:cubicBezTo>
                  <a:lnTo>
                    <a:pt x="3217" y="2820"/>
                  </a:lnTo>
                  <a:cubicBezTo>
                    <a:pt x="3182" y="2846"/>
                    <a:pt x="3134" y="2870"/>
                    <a:pt x="3117" y="2898"/>
                  </a:cubicBezTo>
                  <a:cubicBezTo>
                    <a:pt x="3088" y="2944"/>
                    <a:pt x="3111" y="2991"/>
                    <a:pt x="3111" y="3071"/>
                  </a:cubicBezTo>
                  <a:cubicBezTo>
                    <a:pt x="3111" y="3116"/>
                    <a:pt x="3102" y="3132"/>
                    <a:pt x="3082" y="3122"/>
                  </a:cubicBezTo>
                  <a:lnTo>
                    <a:pt x="3082" y="2053"/>
                  </a:lnTo>
                  <a:close/>
                  <a:moveTo>
                    <a:pt x="3217" y="900"/>
                  </a:moveTo>
                  <a:lnTo>
                    <a:pt x="3217" y="861"/>
                  </a:lnTo>
                  <a:cubicBezTo>
                    <a:pt x="3248" y="875"/>
                    <a:pt x="3258" y="890"/>
                    <a:pt x="3220" y="899"/>
                  </a:cubicBezTo>
                  <a:cubicBezTo>
                    <a:pt x="3219" y="899"/>
                    <a:pt x="3218" y="900"/>
                    <a:pt x="3217" y="900"/>
                  </a:cubicBezTo>
                  <a:close/>
                  <a:moveTo>
                    <a:pt x="3217" y="1251"/>
                  </a:moveTo>
                  <a:cubicBezTo>
                    <a:pt x="3224" y="1249"/>
                    <a:pt x="3231" y="1245"/>
                    <a:pt x="3239" y="1240"/>
                  </a:cubicBezTo>
                  <a:cubicBezTo>
                    <a:pt x="3291" y="1207"/>
                    <a:pt x="3260" y="1173"/>
                    <a:pt x="3217" y="1176"/>
                  </a:cubicBezTo>
                  <a:lnTo>
                    <a:pt x="3217" y="1251"/>
                  </a:lnTo>
                  <a:close/>
                  <a:moveTo>
                    <a:pt x="3217" y="3225"/>
                  </a:moveTo>
                  <a:lnTo>
                    <a:pt x="3217" y="3152"/>
                  </a:lnTo>
                  <a:cubicBezTo>
                    <a:pt x="3276" y="3174"/>
                    <a:pt x="3318" y="3257"/>
                    <a:pt x="3273" y="3231"/>
                  </a:cubicBezTo>
                  <a:cubicBezTo>
                    <a:pt x="3251" y="3218"/>
                    <a:pt x="3233" y="3220"/>
                    <a:pt x="3217" y="3225"/>
                  </a:cubicBezTo>
                  <a:close/>
                  <a:moveTo>
                    <a:pt x="3217" y="3359"/>
                  </a:moveTo>
                  <a:lnTo>
                    <a:pt x="3217" y="3315"/>
                  </a:lnTo>
                  <a:cubicBezTo>
                    <a:pt x="3270" y="3318"/>
                    <a:pt x="3308" y="3365"/>
                    <a:pt x="3253" y="3365"/>
                  </a:cubicBezTo>
                  <a:cubicBezTo>
                    <a:pt x="3240" y="3365"/>
                    <a:pt x="3227" y="3363"/>
                    <a:pt x="3217" y="3359"/>
                  </a:cubicBezTo>
                  <a:close/>
                  <a:moveTo>
                    <a:pt x="3425" y="3387"/>
                  </a:moveTo>
                  <a:lnTo>
                    <a:pt x="3425" y="3466"/>
                  </a:lnTo>
                  <a:cubicBezTo>
                    <a:pt x="3377" y="3458"/>
                    <a:pt x="3334" y="3394"/>
                    <a:pt x="3425" y="3387"/>
                  </a:cubicBezTo>
                  <a:close/>
                  <a:moveTo>
                    <a:pt x="3425" y="996"/>
                  </a:moveTo>
                  <a:lnTo>
                    <a:pt x="3425" y="1489"/>
                  </a:lnTo>
                  <a:cubicBezTo>
                    <a:pt x="3361" y="1468"/>
                    <a:pt x="3292" y="1449"/>
                    <a:pt x="3244" y="1446"/>
                  </a:cubicBezTo>
                  <a:cubicBezTo>
                    <a:pt x="3234" y="1446"/>
                    <a:pt x="3225" y="1445"/>
                    <a:pt x="3217" y="1443"/>
                  </a:cubicBezTo>
                  <a:lnTo>
                    <a:pt x="3217" y="1354"/>
                  </a:lnTo>
                  <a:cubicBezTo>
                    <a:pt x="3294" y="1344"/>
                    <a:pt x="3274" y="1278"/>
                    <a:pt x="3324" y="1239"/>
                  </a:cubicBezTo>
                  <a:cubicBezTo>
                    <a:pt x="3376" y="1199"/>
                    <a:pt x="3376" y="1199"/>
                    <a:pt x="3295" y="1141"/>
                  </a:cubicBezTo>
                  <a:cubicBezTo>
                    <a:pt x="3273" y="1125"/>
                    <a:pt x="3246" y="1113"/>
                    <a:pt x="3217" y="1104"/>
                  </a:cubicBezTo>
                  <a:lnTo>
                    <a:pt x="3217" y="928"/>
                  </a:lnTo>
                  <a:cubicBezTo>
                    <a:pt x="3254" y="950"/>
                    <a:pt x="3350" y="977"/>
                    <a:pt x="3425" y="996"/>
                  </a:cubicBezTo>
                  <a:moveTo>
                    <a:pt x="3425" y="485"/>
                  </a:moveTo>
                  <a:cubicBezTo>
                    <a:pt x="3415" y="496"/>
                    <a:pt x="3408" y="513"/>
                    <a:pt x="3399" y="536"/>
                  </a:cubicBezTo>
                  <a:cubicBezTo>
                    <a:pt x="3389" y="562"/>
                    <a:pt x="3401" y="573"/>
                    <a:pt x="3425" y="576"/>
                  </a:cubicBezTo>
                  <a:lnTo>
                    <a:pt x="3425" y="485"/>
                  </a:lnTo>
                  <a:close/>
                  <a:moveTo>
                    <a:pt x="3425" y="106"/>
                  </a:moveTo>
                  <a:lnTo>
                    <a:pt x="3425" y="363"/>
                  </a:lnTo>
                  <a:cubicBezTo>
                    <a:pt x="3378" y="383"/>
                    <a:pt x="3328" y="395"/>
                    <a:pt x="3295" y="392"/>
                  </a:cubicBezTo>
                  <a:cubicBezTo>
                    <a:pt x="3232" y="386"/>
                    <a:pt x="3272" y="542"/>
                    <a:pt x="3226" y="542"/>
                  </a:cubicBezTo>
                  <a:cubicBezTo>
                    <a:pt x="3223" y="542"/>
                    <a:pt x="3220" y="543"/>
                    <a:pt x="3217" y="544"/>
                  </a:cubicBezTo>
                  <a:lnTo>
                    <a:pt x="3217" y="81"/>
                  </a:lnTo>
                  <a:cubicBezTo>
                    <a:pt x="3229" y="80"/>
                    <a:pt x="3242" y="80"/>
                    <a:pt x="3255" y="81"/>
                  </a:cubicBezTo>
                  <a:cubicBezTo>
                    <a:pt x="3339" y="81"/>
                    <a:pt x="3342" y="110"/>
                    <a:pt x="3425" y="106"/>
                  </a:cubicBezTo>
                  <a:moveTo>
                    <a:pt x="3217" y="3727"/>
                  </a:moveTo>
                  <a:cubicBezTo>
                    <a:pt x="3234" y="3729"/>
                    <a:pt x="3251" y="3729"/>
                    <a:pt x="3266" y="3727"/>
                  </a:cubicBezTo>
                  <a:lnTo>
                    <a:pt x="3217" y="3803"/>
                  </a:lnTo>
                  <a:lnTo>
                    <a:pt x="3217" y="3727"/>
                  </a:lnTo>
                  <a:close/>
                  <a:moveTo>
                    <a:pt x="3217" y="1515"/>
                  </a:moveTo>
                  <a:cubicBezTo>
                    <a:pt x="3225" y="1513"/>
                    <a:pt x="3234" y="1511"/>
                    <a:pt x="3244" y="1510"/>
                  </a:cubicBezTo>
                  <a:cubicBezTo>
                    <a:pt x="3297" y="1503"/>
                    <a:pt x="3372" y="1535"/>
                    <a:pt x="3425" y="1573"/>
                  </a:cubicBezTo>
                  <a:lnTo>
                    <a:pt x="3425" y="2516"/>
                  </a:lnTo>
                  <a:cubicBezTo>
                    <a:pt x="3408" y="2545"/>
                    <a:pt x="3391" y="2570"/>
                    <a:pt x="3353" y="2570"/>
                  </a:cubicBezTo>
                  <a:cubicBezTo>
                    <a:pt x="3290" y="2570"/>
                    <a:pt x="3255" y="2714"/>
                    <a:pt x="3255" y="2766"/>
                  </a:cubicBezTo>
                  <a:cubicBezTo>
                    <a:pt x="3255" y="2786"/>
                    <a:pt x="3238" y="2804"/>
                    <a:pt x="3217" y="2820"/>
                  </a:cubicBezTo>
                  <a:lnTo>
                    <a:pt x="3217" y="1515"/>
                  </a:lnTo>
                  <a:close/>
                  <a:moveTo>
                    <a:pt x="3425" y="3466"/>
                  </a:moveTo>
                  <a:cubicBezTo>
                    <a:pt x="3428" y="3466"/>
                    <a:pt x="3431" y="3467"/>
                    <a:pt x="3435" y="3467"/>
                  </a:cubicBezTo>
                  <a:cubicBezTo>
                    <a:pt x="3488" y="3467"/>
                    <a:pt x="3494" y="3383"/>
                    <a:pt x="3444" y="3386"/>
                  </a:cubicBezTo>
                  <a:cubicBezTo>
                    <a:pt x="3437" y="3386"/>
                    <a:pt x="3431" y="3386"/>
                    <a:pt x="3425" y="3387"/>
                  </a:cubicBezTo>
                  <a:lnTo>
                    <a:pt x="3425" y="3466"/>
                  </a:lnTo>
                  <a:close/>
                  <a:moveTo>
                    <a:pt x="3628" y="3457"/>
                  </a:moveTo>
                  <a:lnTo>
                    <a:pt x="3628" y="3472"/>
                  </a:lnTo>
                  <a:cubicBezTo>
                    <a:pt x="3623" y="3475"/>
                    <a:pt x="3614" y="3476"/>
                    <a:pt x="3599" y="3476"/>
                  </a:cubicBezTo>
                  <a:cubicBezTo>
                    <a:pt x="3530" y="3473"/>
                    <a:pt x="3485" y="3431"/>
                    <a:pt x="3572" y="3437"/>
                  </a:cubicBezTo>
                  <a:cubicBezTo>
                    <a:pt x="3595" y="3437"/>
                    <a:pt x="3619" y="3447"/>
                    <a:pt x="3628" y="3457"/>
                  </a:cubicBezTo>
                  <a:close/>
                  <a:moveTo>
                    <a:pt x="3628" y="2390"/>
                  </a:moveTo>
                  <a:cubicBezTo>
                    <a:pt x="3626" y="2390"/>
                    <a:pt x="3623" y="2391"/>
                    <a:pt x="3620" y="2392"/>
                  </a:cubicBezTo>
                  <a:cubicBezTo>
                    <a:pt x="3585" y="2398"/>
                    <a:pt x="3598" y="2439"/>
                    <a:pt x="3628" y="2445"/>
                  </a:cubicBezTo>
                  <a:lnTo>
                    <a:pt x="3628" y="2390"/>
                  </a:lnTo>
                  <a:close/>
                  <a:moveTo>
                    <a:pt x="3628" y="1207"/>
                  </a:moveTo>
                  <a:lnTo>
                    <a:pt x="3628" y="1329"/>
                  </a:lnTo>
                  <a:cubicBezTo>
                    <a:pt x="3576" y="1328"/>
                    <a:pt x="3553" y="1357"/>
                    <a:pt x="3612" y="1412"/>
                  </a:cubicBezTo>
                  <a:cubicBezTo>
                    <a:pt x="3618" y="1418"/>
                    <a:pt x="3624" y="1423"/>
                    <a:pt x="3628" y="1429"/>
                  </a:cubicBezTo>
                  <a:lnTo>
                    <a:pt x="3628" y="1536"/>
                  </a:lnTo>
                  <a:cubicBezTo>
                    <a:pt x="3615" y="1548"/>
                    <a:pt x="3597" y="1552"/>
                    <a:pt x="3578" y="1544"/>
                  </a:cubicBezTo>
                  <a:cubicBezTo>
                    <a:pt x="3549" y="1533"/>
                    <a:pt x="3489" y="1510"/>
                    <a:pt x="3425" y="1489"/>
                  </a:cubicBezTo>
                  <a:lnTo>
                    <a:pt x="3425" y="996"/>
                  </a:lnTo>
                  <a:cubicBezTo>
                    <a:pt x="3453" y="1004"/>
                    <a:pt x="3479" y="1010"/>
                    <a:pt x="3497" y="1014"/>
                  </a:cubicBezTo>
                  <a:cubicBezTo>
                    <a:pt x="3586" y="1037"/>
                    <a:pt x="3557" y="1173"/>
                    <a:pt x="3628" y="1207"/>
                  </a:cubicBezTo>
                  <a:moveTo>
                    <a:pt x="3628" y="447"/>
                  </a:moveTo>
                  <a:lnTo>
                    <a:pt x="3628" y="695"/>
                  </a:lnTo>
                  <a:cubicBezTo>
                    <a:pt x="3605" y="692"/>
                    <a:pt x="3584" y="686"/>
                    <a:pt x="3566" y="674"/>
                  </a:cubicBezTo>
                  <a:cubicBezTo>
                    <a:pt x="3491" y="628"/>
                    <a:pt x="3676" y="571"/>
                    <a:pt x="3601" y="565"/>
                  </a:cubicBezTo>
                  <a:cubicBezTo>
                    <a:pt x="3552" y="561"/>
                    <a:pt x="3469" y="582"/>
                    <a:pt x="3425" y="576"/>
                  </a:cubicBezTo>
                  <a:lnTo>
                    <a:pt x="3425" y="485"/>
                  </a:lnTo>
                  <a:cubicBezTo>
                    <a:pt x="3446" y="461"/>
                    <a:pt x="3477" y="461"/>
                    <a:pt x="3560" y="461"/>
                  </a:cubicBezTo>
                  <a:cubicBezTo>
                    <a:pt x="3592" y="461"/>
                    <a:pt x="3614" y="455"/>
                    <a:pt x="3628" y="447"/>
                  </a:cubicBezTo>
                  <a:close/>
                  <a:moveTo>
                    <a:pt x="3628" y="264"/>
                  </a:moveTo>
                  <a:cubicBezTo>
                    <a:pt x="3540" y="281"/>
                    <a:pt x="3568" y="343"/>
                    <a:pt x="3612" y="358"/>
                  </a:cubicBezTo>
                  <a:cubicBezTo>
                    <a:pt x="3618" y="359"/>
                    <a:pt x="3623" y="362"/>
                    <a:pt x="3628" y="366"/>
                  </a:cubicBezTo>
                  <a:lnTo>
                    <a:pt x="3628" y="264"/>
                  </a:lnTo>
                  <a:close/>
                  <a:moveTo>
                    <a:pt x="3628" y="110"/>
                  </a:moveTo>
                  <a:lnTo>
                    <a:pt x="3628" y="202"/>
                  </a:lnTo>
                  <a:cubicBezTo>
                    <a:pt x="3586" y="226"/>
                    <a:pt x="3557" y="253"/>
                    <a:pt x="3532" y="288"/>
                  </a:cubicBezTo>
                  <a:cubicBezTo>
                    <a:pt x="3512" y="317"/>
                    <a:pt x="3470" y="343"/>
                    <a:pt x="3425" y="363"/>
                  </a:cubicBezTo>
                  <a:lnTo>
                    <a:pt x="3425" y="106"/>
                  </a:lnTo>
                  <a:cubicBezTo>
                    <a:pt x="3433" y="106"/>
                    <a:pt x="3441" y="105"/>
                    <a:pt x="3451" y="104"/>
                  </a:cubicBezTo>
                  <a:cubicBezTo>
                    <a:pt x="3496" y="99"/>
                    <a:pt x="3568" y="102"/>
                    <a:pt x="3628" y="110"/>
                  </a:cubicBezTo>
                  <a:close/>
                  <a:moveTo>
                    <a:pt x="3425" y="1573"/>
                  </a:moveTo>
                  <a:cubicBezTo>
                    <a:pt x="3464" y="1601"/>
                    <a:pt x="3491" y="1632"/>
                    <a:pt x="3491" y="1654"/>
                  </a:cubicBezTo>
                  <a:cubicBezTo>
                    <a:pt x="3491" y="1706"/>
                    <a:pt x="3520" y="1735"/>
                    <a:pt x="3578" y="1717"/>
                  </a:cubicBezTo>
                  <a:cubicBezTo>
                    <a:pt x="3625" y="1703"/>
                    <a:pt x="3599" y="1662"/>
                    <a:pt x="3628" y="1651"/>
                  </a:cubicBezTo>
                  <a:lnTo>
                    <a:pt x="3628" y="2121"/>
                  </a:lnTo>
                  <a:cubicBezTo>
                    <a:pt x="3570" y="2128"/>
                    <a:pt x="3487" y="2172"/>
                    <a:pt x="3532" y="2172"/>
                  </a:cubicBezTo>
                  <a:cubicBezTo>
                    <a:pt x="3560" y="2172"/>
                    <a:pt x="3602" y="2194"/>
                    <a:pt x="3628" y="2225"/>
                  </a:cubicBezTo>
                  <a:lnTo>
                    <a:pt x="3628" y="2348"/>
                  </a:lnTo>
                  <a:cubicBezTo>
                    <a:pt x="3567" y="2420"/>
                    <a:pt x="3501" y="2422"/>
                    <a:pt x="3462" y="2460"/>
                  </a:cubicBezTo>
                  <a:cubicBezTo>
                    <a:pt x="3446" y="2476"/>
                    <a:pt x="3436" y="2497"/>
                    <a:pt x="3425" y="2516"/>
                  </a:cubicBezTo>
                  <a:lnTo>
                    <a:pt x="3425" y="1573"/>
                  </a:lnTo>
                  <a:close/>
                  <a:moveTo>
                    <a:pt x="3628" y="1536"/>
                  </a:moveTo>
                  <a:lnTo>
                    <a:pt x="3628" y="1429"/>
                  </a:lnTo>
                  <a:cubicBezTo>
                    <a:pt x="3661" y="1471"/>
                    <a:pt x="3652" y="1515"/>
                    <a:pt x="3628" y="1536"/>
                  </a:cubicBezTo>
                  <a:close/>
                  <a:moveTo>
                    <a:pt x="3628" y="2445"/>
                  </a:moveTo>
                  <a:cubicBezTo>
                    <a:pt x="3631" y="2446"/>
                    <a:pt x="3633" y="2446"/>
                    <a:pt x="3636" y="2446"/>
                  </a:cubicBezTo>
                  <a:cubicBezTo>
                    <a:pt x="3669" y="2446"/>
                    <a:pt x="3663" y="2388"/>
                    <a:pt x="3628" y="2390"/>
                  </a:cubicBezTo>
                  <a:lnTo>
                    <a:pt x="3628" y="2445"/>
                  </a:lnTo>
                  <a:close/>
                  <a:moveTo>
                    <a:pt x="3628" y="3472"/>
                  </a:moveTo>
                  <a:lnTo>
                    <a:pt x="3628" y="3457"/>
                  </a:lnTo>
                  <a:cubicBezTo>
                    <a:pt x="3634" y="3463"/>
                    <a:pt x="3635" y="3468"/>
                    <a:pt x="3628" y="3472"/>
                  </a:cubicBezTo>
                  <a:close/>
                  <a:moveTo>
                    <a:pt x="3671" y="2355"/>
                  </a:moveTo>
                  <a:lnTo>
                    <a:pt x="3671" y="2395"/>
                  </a:lnTo>
                  <a:cubicBezTo>
                    <a:pt x="3662" y="2382"/>
                    <a:pt x="3661" y="2365"/>
                    <a:pt x="3671" y="2355"/>
                  </a:cubicBezTo>
                  <a:close/>
                  <a:moveTo>
                    <a:pt x="3671" y="1230"/>
                  </a:moveTo>
                  <a:lnTo>
                    <a:pt x="3671" y="1336"/>
                  </a:lnTo>
                  <a:cubicBezTo>
                    <a:pt x="3656" y="1332"/>
                    <a:pt x="3641" y="1330"/>
                    <a:pt x="3628" y="1329"/>
                  </a:cubicBezTo>
                  <a:lnTo>
                    <a:pt x="3628" y="1207"/>
                  </a:lnTo>
                  <a:cubicBezTo>
                    <a:pt x="3631" y="1208"/>
                    <a:pt x="3633" y="1209"/>
                    <a:pt x="3635" y="1210"/>
                  </a:cubicBezTo>
                  <a:cubicBezTo>
                    <a:pt x="3648" y="1215"/>
                    <a:pt x="3660" y="1222"/>
                    <a:pt x="3671" y="1230"/>
                  </a:cubicBezTo>
                  <a:close/>
                  <a:moveTo>
                    <a:pt x="3671" y="260"/>
                  </a:moveTo>
                  <a:lnTo>
                    <a:pt x="3671" y="698"/>
                  </a:lnTo>
                  <a:cubicBezTo>
                    <a:pt x="3656" y="698"/>
                    <a:pt x="3642" y="697"/>
                    <a:pt x="3628" y="695"/>
                  </a:cubicBezTo>
                  <a:lnTo>
                    <a:pt x="3628" y="447"/>
                  </a:lnTo>
                  <a:cubicBezTo>
                    <a:pt x="3664" y="425"/>
                    <a:pt x="3655" y="385"/>
                    <a:pt x="3628" y="366"/>
                  </a:cubicBezTo>
                  <a:lnTo>
                    <a:pt x="3628" y="264"/>
                  </a:lnTo>
                  <a:cubicBezTo>
                    <a:pt x="3640" y="262"/>
                    <a:pt x="3654" y="260"/>
                    <a:pt x="3671" y="260"/>
                  </a:cubicBezTo>
                  <a:close/>
                  <a:moveTo>
                    <a:pt x="3671" y="117"/>
                  </a:moveTo>
                  <a:lnTo>
                    <a:pt x="3671" y="181"/>
                  </a:lnTo>
                  <a:cubicBezTo>
                    <a:pt x="3655" y="188"/>
                    <a:pt x="3641" y="195"/>
                    <a:pt x="3628" y="202"/>
                  </a:cubicBezTo>
                  <a:lnTo>
                    <a:pt x="3628" y="110"/>
                  </a:lnTo>
                  <a:cubicBezTo>
                    <a:pt x="3643" y="112"/>
                    <a:pt x="3658" y="114"/>
                    <a:pt x="3671" y="117"/>
                  </a:cubicBezTo>
                  <a:close/>
                  <a:moveTo>
                    <a:pt x="3628" y="2225"/>
                  </a:moveTo>
                  <a:cubicBezTo>
                    <a:pt x="3655" y="2257"/>
                    <a:pt x="3667" y="2299"/>
                    <a:pt x="3635" y="2339"/>
                  </a:cubicBezTo>
                  <a:cubicBezTo>
                    <a:pt x="3633" y="2342"/>
                    <a:pt x="3631" y="2345"/>
                    <a:pt x="3628" y="2348"/>
                  </a:cubicBezTo>
                  <a:lnTo>
                    <a:pt x="3628" y="2225"/>
                  </a:lnTo>
                  <a:close/>
                  <a:moveTo>
                    <a:pt x="3628" y="1651"/>
                  </a:moveTo>
                  <a:cubicBezTo>
                    <a:pt x="3635" y="1648"/>
                    <a:pt x="3644" y="1647"/>
                    <a:pt x="3658" y="1648"/>
                  </a:cubicBezTo>
                  <a:cubicBezTo>
                    <a:pt x="3663" y="1648"/>
                    <a:pt x="3667" y="1649"/>
                    <a:pt x="3671" y="1651"/>
                  </a:cubicBezTo>
                  <a:lnTo>
                    <a:pt x="3671" y="2127"/>
                  </a:lnTo>
                  <a:lnTo>
                    <a:pt x="3670" y="2126"/>
                  </a:lnTo>
                  <a:cubicBezTo>
                    <a:pt x="3661" y="2120"/>
                    <a:pt x="3646" y="2119"/>
                    <a:pt x="3628" y="2121"/>
                  </a:cubicBezTo>
                  <a:lnTo>
                    <a:pt x="3628" y="1651"/>
                  </a:lnTo>
                  <a:close/>
                  <a:moveTo>
                    <a:pt x="3671" y="181"/>
                  </a:moveTo>
                  <a:cubicBezTo>
                    <a:pt x="3686" y="175"/>
                    <a:pt x="3703" y="168"/>
                    <a:pt x="3722" y="162"/>
                  </a:cubicBezTo>
                  <a:cubicBezTo>
                    <a:pt x="3769" y="145"/>
                    <a:pt x="3733" y="128"/>
                    <a:pt x="3671" y="117"/>
                  </a:cubicBezTo>
                  <a:lnTo>
                    <a:pt x="3671" y="181"/>
                  </a:lnTo>
                  <a:close/>
                  <a:moveTo>
                    <a:pt x="3671" y="1336"/>
                  </a:moveTo>
                  <a:lnTo>
                    <a:pt x="3671" y="1230"/>
                  </a:lnTo>
                  <a:cubicBezTo>
                    <a:pt x="3726" y="1274"/>
                    <a:pt x="3743" y="1356"/>
                    <a:pt x="3676" y="1337"/>
                  </a:cubicBezTo>
                  <a:cubicBezTo>
                    <a:pt x="3674" y="1337"/>
                    <a:pt x="3672" y="1336"/>
                    <a:pt x="3671" y="1336"/>
                  </a:cubicBezTo>
                  <a:close/>
                  <a:moveTo>
                    <a:pt x="3671" y="2395"/>
                  </a:moveTo>
                  <a:lnTo>
                    <a:pt x="3671" y="2355"/>
                  </a:lnTo>
                  <a:cubicBezTo>
                    <a:pt x="3676" y="2350"/>
                    <a:pt x="3682" y="2347"/>
                    <a:pt x="3692" y="2345"/>
                  </a:cubicBezTo>
                  <a:cubicBezTo>
                    <a:pt x="3748" y="2328"/>
                    <a:pt x="3761" y="2418"/>
                    <a:pt x="3714" y="2418"/>
                  </a:cubicBezTo>
                  <a:cubicBezTo>
                    <a:pt x="3695" y="2418"/>
                    <a:pt x="3679" y="2408"/>
                    <a:pt x="3671" y="2395"/>
                  </a:cubicBezTo>
                  <a:close/>
                  <a:moveTo>
                    <a:pt x="3900" y="2107"/>
                  </a:moveTo>
                  <a:cubicBezTo>
                    <a:pt x="3863" y="2103"/>
                    <a:pt x="3896" y="2106"/>
                    <a:pt x="3865" y="2181"/>
                  </a:cubicBezTo>
                  <a:cubicBezTo>
                    <a:pt x="3840" y="2239"/>
                    <a:pt x="3857" y="2256"/>
                    <a:pt x="3900" y="2275"/>
                  </a:cubicBezTo>
                  <a:lnTo>
                    <a:pt x="3900" y="2107"/>
                  </a:lnTo>
                  <a:close/>
                  <a:moveTo>
                    <a:pt x="3900" y="173"/>
                  </a:moveTo>
                  <a:lnTo>
                    <a:pt x="3900" y="716"/>
                  </a:lnTo>
                  <a:cubicBezTo>
                    <a:pt x="3890" y="711"/>
                    <a:pt x="3879" y="706"/>
                    <a:pt x="3866" y="703"/>
                  </a:cubicBezTo>
                  <a:cubicBezTo>
                    <a:pt x="3802" y="689"/>
                    <a:pt x="3733" y="699"/>
                    <a:pt x="3671" y="698"/>
                  </a:cubicBezTo>
                  <a:lnTo>
                    <a:pt x="3671" y="260"/>
                  </a:lnTo>
                  <a:cubicBezTo>
                    <a:pt x="3674" y="260"/>
                    <a:pt x="3678" y="260"/>
                    <a:pt x="3681" y="260"/>
                  </a:cubicBezTo>
                  <a:cubicBezTo>
                    <a:pt x="3816" y="260"/>
                    <a:pt x="3806" y="180"/>
                    <a:pt x="3900" y="173"/>
                  </a:cubicBezTo>
                  <a:close/>
                  <a:moveTo>
                    <a:pt x="3671" y="1651"/>
                  </a:moveTo>
                  <a:cubicBezTo>
                    <a:pt x="3732" y="1670"/>
                    <a:pt x="3724" y="1795"/>
                    <a:pt x="3768" y="1838"/>
                  </a:cubicBezTo>
                  <a:cubicBezTo>
                    <a:pt x="3814" y="1884"/>
                    <a:pt x="3900" y="1902"/>
                    <a:pt x="3883" y="1942"/>
                  </a:cubicBezTo>
                  <a:cubicBezTo>
                    <a:pt x="3878" y="1954"/>
                    <a:pt x="3887" y="1971"/>
                    <a:pt x="3900" y="1989"/>
                  </a:cubicBezTo>
                  <a:lnTo>
                    <a:pt x="3900" y="2080"/>
                  </a:lnTo>
                  <a:cubicBezTo>
                    <a:pt x="3810" y="2083"/>
                    <a:pt x="3767" y="2111"/>
                    <a:pt x="3745" y="2149"/>
                  </a:cubicBezTo>
                  <a:cubicBezTo>
                    <a:pt x="3722" y="2189"/>
                    <a:pt x="3710" y="2156"/>
                    <a:pt x="3671" y="2127"/>
                  </a:cubicBezTo>
                  <a:lnTo>
                    <a:pt x="3671" y="1651"/>
                  </a:lnTo>
                  <a:close/>
                  <a:moveTo>
                    <a:pt x="3900" y="2275"/>
                  </a:moveTo>
                  <a:lnTo>
                    <a:pt x="3900" y="2107"/>
                  </a:lnTo>
                  <a:cubicBezTo>
                    <a:pt x="3903" y="2107"/>
                    <a:pt x="3907" y="2107"/>
                    <a:pt x="3912" y="2108"/>
                  </a:cubicBezTo>
                  <a:cubicBezTo>
                    <a:pt x="4003" y="2103"/>
                    <a:pt x="4016" y="2172"/>
                    <a:pt x="4042" y="2228"/>
                  </a:cubicBezTo>
                  <a:cubicBezTo>
                    <a:pt x="4068" y="2285"/>
                    <a:pt x="4050" y="2341"/>
                    <a:pt x="3964" y="2302"/>
                  </a:cubicBezTo>
                  <a:cubicBezTo>
                    <a:pt x="3939" y="2291"/>
                    <a:pt x="3917" y="2283"/>
                    <a:pt x="3900" y="2275"/>
                  </a:cubicBezTo>
                  <a:moveTo>
                    <a:pt x="5234" y="1315"/>
                  </a:moveTo>
                  <a:cubicBezTo>
                    <a:pt x="5212" y="1313"/>
                    <a:pt x="5190" y="1309"/>
                    <a:pt x="5154" y="1293"/>
                  </a:cubicBezTo>
                  <a:cubicBezTo>
                    <a:pt x="5092" y="1265"/>
                    <a:pt x="5030" y="1382"/>
                    <a:pt x="5126" y="1457"/>
                  </a:cubicBezTo>
                  <a:cubicBezTo>
                    <a:pt x="5162" y="1486"/>
                    <a:pt x="5200" y="1495"/>
                    <a:pt x="5234" y="1492"/>
                  </a:cubicBezTo>
                  <a:lnTo>
                    <a:pt x="5234" y="1315"/>
                  </a:lnTo>
                  <a:close/>
                  <a:moveTo>
                    <a:pt x="5234" y="248"/>
                  </a:moveTo>
                  <a:lnTo>
                    <a:pt x="5234" y="332"/>
                  </a:lnTo>
                  <a:cubicBezTo>
                    <a:pt x="5219" y="339"/>
                    <a:pt x="5215" y="349"/>
                    <a:pt x="5231" y="363"/>
                  </a:cubicBezTo>
                  <a:cubicBezTo>
                    <a:pt x="5232" y="364"/>
                    <a:pt x="5233" y="365"/>
                    <a:pt x="5234" y="366"/>
                  </a:cubicBezTo>
                  <a:lnTo>
                    <a:pt x="5234" y="408"/>
                  </a:lnTo>
                  <a:cubicBezTo>
                    <a:pt x="5214" y="436"/>
                    <a:pt x="5170" y="463"/>
                    <a:pt x="5220" y="490"/>
                  </a:cubicBezTo>
                  <a:cubicBezTo>
                    <a:pt x="5225" y="493"/>
                    <a:pt x="5230" y="496"/>
                    <a:pt x="5234" y="500"/>
                  </a:cubicBezTo>
                  <a:lnTo>
                    <a:pt x="5234" y="613"/>
                  </a:lnTo>
                  <a:cubicBezTo>
                    <a:pt x="5224" y="619"/>
                    <a:pt x="5211" y="623"/>
                    <a:pt x="5197" y="623"/>
                  </a:cubicBezTo>
                  <a:cubicBezTo>
                    <a:pt x="5122" y="623"/>
                    <a:pt x="5202" y="674"/>
                    <a:pt x="5145" y="732"/>
                  </a:cubicBezTo>
                  <a:cubicBezTo>
                    <a:pt x="5087" y="790"/>
                    <a:pt x="5104" y="830"/>
                    <a:pt x="5024" y="830"/>
                  </a:cubicBezTo>
                  <a:cubicBezTo>
                    <a:pt x="4943" y="830"/>
                    <a:pt x="5122" y="957"/>
                    <a:pt x="5030" y="957"/>
                  </a:cubicBezTo>
                  <a:cubicBezTo>
                    <a:pt x="4937" y="957"/>
                    <a:pt x="4909" y="1072"/>
                    <a:pt x="5001" y="1060"/>
                  </a:cubicBezTo>
                  <a:cubicBezTo>
                    <a:pt x="5093" y="1049"/>
                    <a:pt x="5087" y="1089"/>
                    <a:pt x="4989" y="1135"/>
                  </a:cubicBezTo>
                  <a:cubicBezTo>
                    <a:pt x="4891" y="1181"/>
                    <a:pt x="4736" y="1181"/>
                    <a:pt x="4690" y="1256"/>
                  </a:cubicBezTo>
                  <a:cubicBezTo>
                    <a:pt x="4644" y="1331"/>
                    <a:pt x="4471" y="1325"/>
                    <a:pt x="4471" y="1395"/>
                  </a:cubicBezTo>
                  <a:cubicBezTo>
                    <a:pt x="4471" y="1464"/>
                    <a:pt x="4442" y="1717"/>
                    <a:pt x="4309" y="1671"/>
                  </a:cubicBezTo>
                  <a:cubicBezTo>
                    <a:pt x="4177" y="1625"/>
                    <a:pt x="4148" y="1493"/>
                    <a:pt x="4096" y="1412"/>
                  </a:cubicBezTo>
                  <a:cubicBezTo>
                    <a:pt x="4044" y="1331"/>
                    <a:pt x="4125" y="1245"/>
                    <a:pt x="4073" y="1216"/>
                  </a:cubicBezTo>
                  <a:cubicBezTo>
                    <a:pt x="4021" y="1187"/>
                    <a:pt x="4188" y="1055"/>
                    <a:pt x="4131" y="1095"/>
                  </a:cubicBezTo>
                  <a:cubicBezTo>
                    <a:pt x="4073" y="1135"/>
                    <a:pt x="3981" y="1078"/>
                    <a:pt x="4062" y="1060"/>
                  </a:cubicBezTo>
                  <a:cubicBezTo>
                    <a:pt x="4142" y="1043"/>
                    <a:pt x="4114" y="962"/>
                    <a:pt x="4056" y="980"/>
                  </a:cubicBezTo>
                  <a:cubicBezTo>
                    <a:pt x="3998" y="997"/>
                    <a:pt x="3935" y="968"/>
                    <a:pt x="4010" y="911"/>
                  </a:cubicBezTo>
                  <a:cubicBezTo>
                    <a:pt x="4085" y="853"/>
                    <a:pt x="4050" y="870"/>
                    <a:pt x="3998" y="853"/>
                  </a:cubicBezTo>
                  <a:cubicBezTo>
                    <a:pt x="3953" y="838"/>
                    <a:pt x="3965" y="753"/>
                    <a:pt x="3900" y="716"/>
                  </a:cubicBezTo>
                  <a:lnTo>
                    <a:pt x="3900" y="173"/>
                  </a:lnTo>
                  <a:cubicBezTo>
                    <a:pt x="3910" y="172"/>
                    <a:pt x="3922" y="172"/>
                    <a:pt x="3935" y="173"/>
                  </a:cubicBezTo>
                  <a:cubicBezTo>
                    <a:pt x="4067" y="185"/>
                    <a:pt x="4073" y="271"/>
                    <a:pt x="4142" y="254"/>
                  </a:cubicBezTo>
                  <a:cubicBezTo>
                    <a:pt x="4211" y="237"/>
                    <a:pt x="4062" y="87"/>
                    <a:pt x="4234" y="190"/>
                  </a:cubicBezTo>
                  <a:cubicBezTo>
                    <a:pt x="4407" y="294"/>
                    <a:pt x="4281" y="179"/>
                    <a:pt x="4355" y="179"/>
                  </a:cubicBezTo>
                  <a:cubicBezTo>
                    <a:pt x="4430" y="179"/>
                    <a:pt x="4304" y="69"/>
                    <a:pt x="4436" y="75"/>
                  </a:cubicBezTo>
                  <a:cubicBezTo>
                    <a:pt x="4569" y="81"/>
                    <a:pt x="4569" y="0"/>
                    <a:pt x="4736" y="0"/>
                  </a:cubicBezTo>
                  <a:cubicBezTo>
                    <a:pt x="4937" y="0"/>
                    <a:pt x="5300" y="167"/>
                    <a:pt x="5116" y="144"/>
                  </a:cubicBezTo>
                  <a:cubicBezTo>
                    <a:pt x="4932" y="121"/>
                    <a:pt x="4684" y="116"/>
                    <a:pt x="4799" y="185"/>
                  </a:cubicBezTo>
                  <a:cubicBezTo>
                    <a:pt x="4914" y="254"/>
                    <a:pt x="4937" y="121"/>
                    <a:pt x="4978" y="185"/>
                  </a:cubicBezTo>
                  <a:cubicBezTo>
                    <a:pt x="5018" y="248"/>
                    <a:pt x="5087" y="185"/>
                    <a:pt x="5133" y="225"/>
                  </a:cubicBezTo>
                  <a:cubicBezTo>
                    <a:pt x="5162" y="250"/>
                    <a:pt x="5198" y="255"/>
                    <a:pt x="5234" y="248"/>
                  </a:cubicBezTo>
                  <a:close/>
                  <a:moveTo>
                    <a:pt x="3900" y="1989"/>
                  </a:moveTo>
                  <a:cubicBezTo>
                    <a:pt x="3930" y="2032"/>
                    <a:pt x="3981" y="2080"/>
                    <a:pt x="3912" y="2080"/>
                  </a:cubicBezTo>
                  <a:cubicBezTo>
                    <a:pt x="3908" y="2080"/>
                    <a:pt x="3904" y="2080"/>
                    <a:pt x="3900" y="2080"/>
                  </a:cubicBezTo>
                  <a:lnTo>
                    <a:pt x="3900" y="1989"/>
                  </a:lnTo>
                  <a:close/>
                  <a:moveTo>
                    <a:pt x="5614" y="970"/>
                  </a:moveTo>
                  <a:cubicBezTo>
                    <a:pt x="5662" y="970"/>
                    <a:pt x="5696" y="1052"/>
                    <a:pt x="5634" y="1052"/>
                  </a:cubicBezTo>
                  <a:cubicBezTo>
                    <a:pt x="5573" y="1052"/>
                    <a:pt x="5531" y="963"/>
                    <a:pt x="5614" y="970"/>
                  </a:cubicBezTo>
                  <a:close/>
                  <a:moveTo>
                    <a:pt x="5234" y="332"/>
                  </a:moveTo>
                  <a:lnTo>
                    <a:pt x="5234" y="248"/>
                  </a:lnTo>
                  <a:cubicBezTo>
                    <a:pt x="5256" y="244"/>
                    <a:pt x="5279" y="236"/>
                    <a:pt x="5300" y="225"/>
                  </a:cubicBezTo>
                  <a:cubicBezTo>
                    <a:pt x="5358" y="196"/>
                    <a:pt x="5531" y="294"/>
                    <a:pt x="5433" y="306"/>
                  </a:cubicBezTo>
                  <a:cubicBezTo>
                    <a:pt x="5365" y="314"/>
                    <a:pt x="5269" y="316"/>
                    <a:pt x="5234" y="332"/>
                  </a:cubicBezTo>
                  <a:close/>
                  <a:moveTo>
                    <a:pt x="5234" y="408"/>
                  </a:moveTo>
                  <a:lnTo>
                    <a:pt x="5234" y="366"/>
                  </a:lnTo>
                  <a:cubicBezTo>
                    <a:pt x="5248" y="381"/>
                    <a:pt x="5244" y="395"/>
                    <a:pt x="5234" y="408"/>
                  </a:cubicBezTo>
                  <a:close/>
                  <a:moveTo>
                    <a:pt x="5234" y="613"/>
                  </a:moveTo>
                  <a:lnTo>
                    <a:pt x="5234" y="500"/>
                  </a:lnTo>
                  <a:cubicBezTo>
                    <a:pt x="5279" y="534"/>
                    <a:pt x="5273" y="591"/>
                    <a:pt x="5234" y="613"/>
                  </a:cubicBezTo>
                  <a:close/>
                  <a:moveTo>
                    <a:pt x="5234" y="1492"/>
                  </a:moveTo>
                  <a:lnTo>
                    <a:pt x="5234" y="1315"/>
                  </a:lnTo>
                  <a:cubicBezTo>
                    <a:pt x="5250" y="1317"/>
                    <a:pt x="5265" y="1317"/>
                    <a:pt x="5284" y="1320"/>
                  </a:cubicBezTo>
                  <a:cubicBezTo>
                    <a:pt x="5373" y="1293"/>
                    <a:pt x="5421" y="1361"/>
                    <a:pt x="5373" y="1416"/>
                  </a:cubicBezTo>
                  <a:cubicBezTo>
                    <a:pt x="5343" y="1451"/>
                    <a:pt x="5292" y="1487"/>
                    <a:pt x="5234" y="149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r" defTabSz="914400" rtl="1"/>
              <a:endParaRPr lang="en-US"/>
            </a:p>
          </p:txBody>
        </p:sp>
        <p:sp>
          <p:nvSpPr>
            <p:cNvPr id="25" name="Freeform 187">
              <a:extLst>
                <a:ext uri="{FF2B5EF4-FFF2-40B4-BE49-F238E27FC236}">
                  <a16:creationId xmlns:a16="http://schemas.microsoft.com/office/drawing/2014/main" id="{7E21A507-2EDD-46FF-8C1D-8EDBE65BA46A}"/>
                </a:ext>
              </a:extLst>
            </p:cNvPr>
            <p:cNvSpPr>
              <a:spLocks noEditPoints="1"/>
            </p:cNvSpPr>
            <p:nvPr/>
          </p:nvSpPr>
          <p:spPr bwMode="auto">
            <a:xfrm>
              <a:off x="5576888" y="3006725"/>
              <a:ext cx="1327150" cy="1406525"/>
            </a:xfrm>
            <a:custGeom>
              <a:avLst/>
              <a:gdLst>
                <a:gd name="T0" fmla="*/ 38 w 2585"/>
                <a:gd name="T1" fmla="*/ 961 h 2740"/>
                <a:gd name="T2" fmla="*/ 38 w 2585"/>
                <a:gd name="T3" fmla="*/ 859 h 2740"/>
                <a:gd name="T4" fmla="*/ 38 w 2585"/>
                <a:gd name="T5" fmla="*/ 780 h 2740"/>
                <a:gd name="T6" fmla="*/ 38 w 2585"/>
                <a:gd name="T7" fmla="*/ 632 h 2740"/>
                <a:gd name="T8" fmla="*/ 22 w 2585"/>
                <a:gd name="T9" fmla="*/ 386 h 2740"/>
                <a:gd name="T10" fmla="*/ 38 w 2585"/>
                <a:gd name="T11" fmla="*/ 358 h 2740"/>
                <a:gd name="T12" fmla="*/ 2138 w 2585"/>
                <a:gd name="T13" fmla="*/ 2240 h 2740"/>
                <a:gd name="T14" fmla="*/ 2138 w 2585"/>
                <a:gd name="T15" fmla="*/ 1854 h 2740"/>
                <a:gd name="T16" fmla="*/ 2125 w 2585"/>
                <a:gd name="T17" fmla="*/ 1897 h 2740"/>
                <a:gd name="T18" fmla="*/ 2138 w 2585"/>
                <a:gd name="T19" fmla="*/ 1854 h 2740"/>
                <a:gd name="T20" fmla="*/ 2138 w 2585"/>
                <a:gd name="T21" fmla="*/ 1435 h 2740"/>
                <a:gd name="T22" fmla="*/ 1990 w 2585"/>
                <a:gd name="T23" fmla="*/ 1646 h 2740"/>
                <a:gd name="T24" fmla="*/ 2027 w 2585"/>
                <a:gd name="T25" fmla="*/ 2011 h 2740"/>
                <a:gd name="T26" fmla="*/ 1875 w 2585"/>
                <a:gd name="T27" fmla="*/ 2266 h 2740"/>
                <a:gd name="T28" fmla="*/ 1729 w 2585"/>
                <a:gd name="T29" fmla="*/ 2582 h 2740"/>
                <a:gd name="T30" fmla="*/ 1231 w 2585"/>
                <a:gd name="T31" fmla="*/ 2661 h 2740"/>
                <a:gd name="T32" fmla="*/ 1103 w 2585"/>
                <a:gd name="T33" fmla="*/ 2211 h 2740"/>
                <a:gd name="T34" fmla="*/ 1079 w 2585"/>
                <a:gd name="T35" fmla="*/ 1774 h 2740"/>
                <a:gd name="T36" fmla="*/ 951 w 2585"/>
                <a:gd name="T37" fmla="*/ 1415 h 2740"/>
                <a:gd name="T38" fmla="*/ 617 w 2585"/>
                <a:gd name="T39" fmla="*/ 1233 h 2740"/>
                <a:gd name="T40" fmla="*/ 192 w 2585"/>
                <a:gd name="T41" fmla="*/ 1124 h 2740"/>
                <a:gd name="T42" fmla="*/ 38 w 2585"/>
                <a:gd name="T43" fmla="*/ 859 h 2740"/>
                <a:gd name="T44" fmla="*/ 38 w 2585"/>
                <a:gd name="T45" fmla="*/ 632 h 2740"/>
                <a:gd name="T46" fmla="*/ 174 w 2585"/>
                <a:gd name="T47" fmla="*/ 395 h 2740"/>
                <a:gd name="T48" fmla="*/ 380 w 2585"/>
                <a:gd name="T49" fmla="*/ 152 h 2740"/>
                <a:gd name="T50" fmla="*/ 818 w 2585"/>
                <a:gd name="T51" fmla="*/ 42 h 2740"/>
                <a:gd name="T52" fmla="*/ 1170 w 2585"/>
                <a:gd name="T53" fmla="*/ 237 h 2740"/>
                <a:gd name="T54" fmla="*/ 1510 w 2585"/>
                <a:gd name="T55" fmla="*/ 243 h 2740"/>
                <a:gd name="T56" fmla="*/ 1798 w 2585"/>
                <a:gd name="T57" fmla="*/ 365 h 2740"/>
                <a:gd name="T58" fmla="*/ 2063 w 2585"/>
                <a:gd name="T59" fmla="*/ 948 h 2740"/>
                <a:gd name="T60" fmla="*/ 48 w 2585"/>
                <a:gd name="T61" fmla="*/ 339 h 2740"/>
                <a:gd name="T62" fmla="*/ 38 w 2585"/>
                <a:gd name="T63" fmla="*/ 385 h 2740"/>
                <a:gd name="T64" fmla="*/ 48 w 2585"/>
                <a:gd name="T65" fmla="*/ 339 h 2740"/>
                <a:gd name="T66" fmla="*/ 2138 w 2585"/>
                <a:gd name="T67" fmla="*/ 1854 h 2740"/>
                <a:gd name="T68" fmla="*/ 2138 w 2585"/>
                <a:gd name="T69" fmla="*/ 1905 h 2740"/>
                <a:gd name="T70" fmla="*/ 2256 w 2585"/>
                <a:gd name="T71" fmla="*/ 2382 h 2740"/>
                <a:gd name="T72" fmla="*/ 2138 w 2585"/>
                <a:gd name="T73" fmla="*/ 2241 h 2740"/>
                <a:gd name="T74" fmla="*/ 2138 w 2585"/>
                <a:gd name="T75" fmla="*/ 2109 h 2740"/>
                <a:gd name="T76" fmla="*/ 2256 w 2585"/>
                <a:gd name="T77" fmla="*/ 1950 h 2740"/>
                <a:gd name="T78" fmla="*/ 2256 w 2585"/>
                <a:gd name="T79" fmla="*/ 1304 h 2740"/>
                <a:gd name="T80" fmla="*/ 2138 w 2585"/>
                <a:gd name="T81" fmla="*/ 1006 h 2740"/>
                <a:gd name="T82" fmla="*/ 2550 w 2585"/>
                <a:gd name="T83" fmla="*/ 1587 h 2740"/>
                <a:gd name="T84" fmla="*/ 2544 w 2585"/>
                <a:gd name="T85" fmla="*/ 1627 h 2740"/>
                <a:gd name="T86" fmla="*/ 2511 w 2585"/>
                <a:gd name="T87" fmla="*/ 1187 h 2740"/>
                <a:gd name="T88" fmla="*/ 2505 w 2585"/>
                <a:gd name="T89" fmla="*/ 1227 h 2740"/>
                <a:gd name="T90" fmla="*/ 2441 w 2585"/>
                <a:gd name="T91" fmla="*/ 1003 h 2740"/>
                <a:gd name="T92" fmla="*/ 2472 w 2585"/>
                <a:gd name="T93" fmla="*/ 1021 h 2740"/>
                <a:gd name="T94" fmla="*/ 2256 w 2585"/>
                <a:gd name="T95" fmla="*/ 1304 h 2740"/>
                <a:gd name="T96" fmla="*/ 2282 w 2585"/>
                <a:gd name="T97" fmla="*/ 1027 h 2740"/>
                <a:gd name="T98" fmla="*/ 2256 w 2585"/>
                <a:gd name="T99" fmla="*/ 1304 h 2740"/>
                <a:gd name="T100" fmla="*/ 2256 w 2585"/>
                <a:gd name="T101" fmla="*/ 1950 h 2740"/>
                <a:gd name="T102" fmla="*/ 2362 w 2585"/>
                <a:gd name="T103" fmla="*/ 2002 h 2740"/>
                <a:gd name="T104" fmla="*/ 2256 w 2585"/>
                <a:gd name="T105" fmla="*/ 2382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85" h="2740">
                  <a:moveTo>
                    <a:pt x="38" y="859"/>
                  </a:moveTo>
                  <a:lnTo>
                    <a:pt x="38" y="961"/>
                  </a:lnTo>
                  <a:cubicBezTo>
                    <a:pt x="13" y="924"/>
                    <a:pt x="3" y="891"/>
                    <a:pt x="28" y="869"/>
                  </a:cubicBezTo>
                  <a:cubicBezTo>
                    <a:pt x="32" y="865"/>
                    <a:pt x="35" y="862"/>
                    <a:pt x="38" y="859"/>
                  </a:cubicBezTo>
                  <a:close/>
                  <a:moveTo>
                    <a:pt x="38" y="632"/>
                  </a:moveTo>
                  <a:lnTo>
                    <a:pt x="38" y="780"/>
                  </a:lnTo>
                  <a:cubicBezTo>
                    <a:pt x="33" y="774"/>
                    <a:pt x="27" y="767"/>
                    <a:pt x="22" y="759"/>
                  </a:cubicBezTo>
                  <a:cubicBezTo>
                    <a:pt x="0" y="729"/>
                    <a:pt x="16" y="676"/>
                    <a:pt x="38" y="632"/>
                  </a:cubicBezTo>
                  <a:close/>
                  <a:moveTo>
                    <a:pt x="38" y="358"/>
                  </a:moveTo>
                  <a:cubicBezTo>
                    <a:pt x="33" y="367"/>
                    <a:pt x="28" y="376"/>
                    <a:pt x="22" y="386"/>
                  </a:cubicBezTo>
                  <a:cubicBezTo>
                    <a:pt x="28" y="390"/>
                    <a:pt x="33" y="389"/>
                    <a:pt x="38" y="385"/>
                  </a:cubicBezTo>
                  <a:lnTo>
                    <a:pt x="38" y="358"/>
                  </a:lnTo>
                  <a:close/>
                  <a:moveTo>
                    <a:pt x="2138" y="2109"/>
                  </a:moveTo>
                  <a:cubicBezTo>
                    <a:pt x="2121" y="2154"/>
                    <a:pt x="2115" y="2214"/>
                    <a:pt x="2138" y="2240"/>
                  </a:cubicBezTo>
                  <a:lnTo>
                    <a:pt x="2138" y="2109"/>
                  </a:lnTo>
                  <a:close/>
                  <a:moveTo>
                    <a:pt x="2138" y="1854"/>
                  </a:moveTo>
                  <a:cubicBezTo>
                    <a:pt x="2136" y="1855"/>
                    <a:pt x="2133" y="1856"/>
                    <a:pt x="2131" y="1857"/>
                  </a:cubicBezTo>
                  <a:cubicBezTo>
                    <a:pt x="2109" y="1864"/>
                    <a:pt x="2108" y="1877"/>
                    <a:pt x="2125" y="1897"/>
                  </a:cubicBezTo>
                  <a:cubicBezTo>
                    <a:pt x="2129" y="1903"/>
                    <a:pt x="2134" y="1905"/>
                    <a:pt x="2138" y="1905"/>
                  </a:cubicBezTo>
                  <a:lnTo>
                    <a:pt x="2138" y="1854"/>
                  </a:lnTo>
                  <a:close/>
                  <a:moveTo>
                    <a:pt x="2138" y="1006"/>
                  </a:moveTo>
                  <a:lnTo>
                    <a:pt x="2138" y="1435"/>
                  </a:lnTo>
                  <a:cubicBezTo>
                    <a:pt x="2133" y="1439"/>
                    <a:pt x="2128" y="1442"/>
                    <a:pt x="2124" y="1446"/>
                  </a:cubicBezTo>
                  <a:cubicBezTo>
                    <a:pt x="2051" y="1500"/>
                    <a:pt x="2033" y="1628"/>
                    <a:pt x="1990" y="1646"/>
                  </a:cubicBezTo>
                  <a:cubicBezTo>
                    <a:pt x="1948" y="1664"/>
                    <a:pt x="2002" y="1695"/>
                    <a:pt x="2027" y="1743"/>
                  </a:cubicBezTo>
                  <a:cubicBezTo>
                    <a:pt x="2051" y="1792"/>
                    <a:pt x="2057" y="1950"/>
                    <a:pt x="2027" y="2011"/>
                  </a:cubicBezTo>
                  <a:cubicBezTo>
                    <a:pt x="1996" y="2072"/>
                    <a:pt x="1942" y="2144"/>
                    <a:pt x="1893" y="2151"/>
                  </a:cubicBezTo>
                  <a:cubicBezTo>
                    <a:pt x="1844" y="2157"/>
                    <a:pt x="1838" y="2242"/>
                    <a:pt x="1875" y="2266"/>
                  </a:cubicBezTo>
                  <a:cubicBezTo>
                    <a:pt x="1911" y="2290"/>
                    <a:pt x="1863" y="2345"/>
                    <a:pt x="1790" y="2351"/>
                  </a:cubicBezTo>
                  <a:cubicBezTo>
                    <a:pt x="1717" y="2357"/>
                    <a:pt x="1796" y="2576"/>
                    <a:pt x="1729" y="2582"/>
                  </a:cubicBezTo>
                  <a:cubicBezTo>
                    <a:pt x="1662" y="2588"/>
                    <a:pt x="1583" y="2673"/>
                    <a:pt x="1486" y="2685"/>
                  </a:cubicBezTo>
                  <a:cubicBezTo>
                    <a:pt x="1389" y="2697"/>
                    <a:pt x="1273" y="2740"/>
                    <a:pt x="1231" y="2661"/>
                  </a:cubicBezTo>
                  <a:cubicBezTo>
                    <a:pt x="1188" y="2582"/>
                    <a:pt x="1261" y="2533"/>
                    <a:pt x="1188" y="2448"/>
                  </a:cubicBezTo>
                  <a:cubicBezTo>
                    <a:pt x="1115" y="2363"/>
                    <a:pt x="1158" y="2290"/>
                    <a:pt x="1103" y="2211"/>
                  </a:cubicBezTo>
                  <a:cubicBezTo>
                    <a:pt x="1049" y="2132"/>
                    <a:pt x="994" y="1993"/>
                    <a:pt x="1049" y="1920"/>
                  </a:cubicBezTo>
                  <a:cubicBezTo>
                    <a:pt x="1103" y="1847"/>
                    <a:pt x="1127" y="1792"/>
                    <a:pt x="1079" y="1774"/>
                  </a:cubicBezTo>
                  <a:cubicBezTo>
                    <a:pt x="1030" y="1756"/>
                    <a:pt x="1103" y="1671"/>
                    <a:pt x="1036" y="1628"/>
                  </a:cubicBezTo>
                  <a:cubicBezTo>
                    <a:pt x="970" y="1586"/>
                    <a:pt x="927" y="1470"/>
                    <a:pt x="951" y="1415"/>
                  </a:cubicBezTo>
                  <a:cubicBezTo>
                    <a:pt x="976" y="1361"/>
                    <a:pt x="982" y="1270"/>
                    <a:pt x="903" y="1270"/>
                  </a:cubicBezTo>
                  <a:cubicBezTo>
                    <a:pt x="824" y="1270"/>
                    <a:pt x="696" y="1209"/>
                    <a:pt x="617" y="1233"/>
                  </a:cubicBezTo>
                  <a:cubicBezTo>
                    <a:pt x="538" y="1257"/>
                    <a:pt x="477" y="1276"/>
                    <a:pt x="423" y="1294"/>
                  </a:cubicBezTo>
                  <a:cubicBezTo>
                    <a:pt x="368" y="1312"/>
                    <a:pt x="271" y="1203"/>
                    <a:pt x="192" y="1124"/>
                  </a:cubicBezTo>
                  <a:cubicBezTo>
                    <a:pt x="145" y="1077"/>
                    <a:pt x="75" y="1015"/>
                    <a:pt x="38" y="961"/>
                  </a:cubicBezTo>
                  <a:lnTo>
                    <a:pt x="38" y="859"/>
                  </a:lnTo>
                  <a:cubicBezTo>
                    <a:pt x="75" y="821"/>
                    <a:pt x="60" y="805"/>
                    <a:pt x="38" y="780"/>
                  </a:cubicBezTo>
                  <a:lnTo>
                    <a:pt x="38" y="632"/>
                  </a:lnTo>
                  <a:cubicBezTo>
                    <a:pt x="47" y="616"/>
                    <a:pt x="56" y="601"/>
                    <a:pt x="64" y="589"/>
                  </a:cubicBezTo>
                  <a:cubicBezTo>
                    <a:pt x="95" y="547"/>
                    <a:pt x="113" y="401"/>
                    <a:pt x="174" y="395"/>
                  </a:cubicBezTo>
                  <a:cubicBezTo>
                    <a:pt x="234" y="389"/>
                    <a:pt x="277" y="322"/>
                    <a:pt x="277" y="267"/>
                  </a:cubicBezTo>
                  <a:cubicBezTo>
                    <a:pt x="277" y="212"/>
                    <a:pt x="319" y="164"/>
                    <a:pt x="380" y="152"/>
                  </a:cubicBezTo>
                  <a:cubicBezTo>
                    <a:pt x="441" y="140"/>
                    <a:pt x="453" y="97"/>
                    <a:pt x="562" y="97"/>
                  </a:cubicBezTo>
                  <a:cubicBezTo>
                    <a:pt x="672" y="97"/>
                    <a:pt x="702" y="42"/>
                    <a:pt x="818" y="42"/>
                  </a:cubicBezTo>
                  <a:cubicBezTo>
                    <a:pt x="933" y="42"/>
                    <a:pt x="1018" y="0"/>
                    <a:pt x="1006" y="91"/>
                  </a:cubicBezTo>
                  <a:cubicBezTo>
                    <a:pt x="994" y="182"/>
                    <a:pt x="1109" y="200"/>
                    <a:pt x="1170" y="237"/>
                  </a:cubicBezTo>
                  <a:cubicBezTo>
                    <a:pt x="1231" y="273"/>
                    <a:pt x="1316" y="322"/>
                    <a:pt x="1340" y="267"/>
                  </a:cubicBezTo>
                  <a:cubicBezTo>
                    <a:pt x="1364" y="212"/>
                    <a:pt x="1443" y="231"/>
                    <a:pt x="1510" y="243"/>
                  </a:cubicBezTo>
                  <a:cubicBezTo>
                    <a:pt x="1576" y="255"/>
                    <a:pt x="1690" y="279"/>
                    <a:pt x="1751" y="273"/>
                  </a:cubicBezTo>
                  <a:lnTo>
                    <a:pt x="1798" y="365"/>
                  </a:lnTo>
                  <a:cubicBezTo>
                    <a:pt x="1765" y="383"/>
                    <a:pt x="1858" y="591"/>
                    <a:pt x="1899" y="668"/>
                  </a:cubicBezTo>
                  <a:cubicBezTo>
                    <a:pt x="1942" y="747"/>
                    <a:pt x="1990" y="875"/>
                    <a:pt x="2063" y="948"/>
                  </a:cubicBezTo>
                  <a:cubicBezTo>
                    <a:pt x="2088" y="972"/>
                    <a:pt x="2113" y="992"/>
                    <a:pt x="2138" y="1006"/>
                  </a:cubicBezTo>
                  <a:close/>
                  <a:moveTo>
                    <a:pt x="48" y="339"/>
                  </a:moveTo>
                  <a:cubicBezTo>
                    <a:pt x="45" y="345"/>
                    <a:pt x="42" y="351"/>
                    <a:pt x="38" y="358"/>
                  </a:cubicBezTo>
                  <a:lnTo>
                    <a:pt x="38" y="385"/>
                  </a:lnTo>
                  <a:cubicBezTo>
                    <a:pt x="46" y="380"/>
                    <a:pt x="51" y="369"/>
                    <a:pt x="53" y="358"/>
                  </a:cubicBezTo>
                  <a:cubicBezTo>
                    <a:pt x="55" y="350"/>
                    <a:pt x="53" y="343"/>
                    <a:pt x="48" y="339"/>
                  </a:cubicBezTo>
                  <a:close/>
                  <a:moveTo>
                    <a:pt x="2138" y="1905"/>
                  </a:moveTo>
                  <a:lnTo>
                    <a:pt x="2138" y="1854"/>
                  </a:lnTo>
                  <a:cubicBezTo>
                    <a:pt x="2154" y="1849"/>
                    <a:pt x="2165" y="1858"/>
                    <a:pt x="2162" y="1875"/>
                  </a:cubicBezTo>
                  <a:cubicBezTo>
                    <a:pt x="2159" y="1889"/>
                    <a:pt x="2149" y="1906"/>
                    <a:pt x="2138" y="1905"/>
                  </a:cubicBezTo>
                  <a:close/>
                  <a:moveTo>
                    <a:pt x="2256" y="1950"/>
                  </a:moveTo>
                  <a:lnTo>
                    <a:pt x="2256" y="2382"/>
                  </a:lnTo>
                  <a:cubicBezTo>
                    <a:pt x="2242" y="2398"/>
                    <a:pt x="2226" y="2410"/>
                    <a:pt x="2209" y="2414"/>
                  </a:cubicBezTo>
                  <a:cubicBezTo>
                    <a:pt x="2146" y="2425"/>
                    <a:pt x="2174" y="2280"/>
                    <a:pt x="2138" y="2241"/>
                  </a:cubicBezTo>
                  <a:lnTo>
                    <a:pt x="2138" y="2240"/>
                  </a:lnTo>
                  <a:lnTo>
                    <a:pt x="2138" y="2109"/>
                  </a:lnTo>
                  <a:cubicBezTo>
                    <a:pt x="2146" y="2085"/>
                    <a:pt x="2158" y="2066"/>
                    <a:pt x="2170" y="2057"/>
                  </a:cubicBezTo>
                  <a:cubicBezTo>
                    <a:pt x="2189" y="2042"/>
                    <a:pt x="2222" y="1993"/>
                    <a:pt x="2256" y="1950"/>
                  </a:cubicBezTo>
                  <a:close/>
                  <a:moveTo>
                    <a:pt x="2256" y="1033"/>
                  </a:moveTo>
                  <a:lnTo>
                    <a:pt x="2256" y="1304"/>
                  </a:lnTo>
                  <a:cubicBezTo>
                    <a:pt x="2215" y="1357"/>
                    <a:pt x="2172" y="1405"/>
                    <a:pt x="2138" y="1435"/>
                  </a:cubicBezTo>
                  <a:lnTo>
                    <a:pt x="2138" y="1006"/>
                  </a:lnTo>
                  <a:cubicBezTo>
                    <a:pt x="2178" y="1029"/>
                    <a:pt x="2218" y="1039"/>
                    <a:pt x="2256" y="1033"/>
                  </a:cubicBezTo>
                  <a:close/>
                  <a:moveTo>
                    <a:pt x="2550" y="1587"/>
                  </a:moveTo>
                  <a:cubicBezTo>
                    <a:pt x="2570" y="1576"/>
                    <a:pt x="2585" y="1585"/>
                    <a:pt x="2581" y="1605"/>
                  </a:cubicBezTo>
                  <a:cubicBezTo>
                    <a:pt x="2578" y="1624"/>
                    <a:pt x="2561" y="1647"/>
                    <a:pt x="2544" y="1627"/>
                  </a:cubicBezTo>
                  <a:cubicBezTo>
                    <a:pt x="2527" y="1606"/>
                    <a:pt x="2529" y="1593"/>
                    <a:pt x="2550" y="1587"/>
                  </a:cubicBezTo>
                  <a:close/>
                  <a:moveTo>
                    <a:pt x="2511" y="1187"/>
                  </a:moveTo>
                  <a:cubicBezTo>
                    <a:pt x="2531" y="1177"/>
                    <a:pt x="2546" y="1186"/>
                    <a:pt x="2542" y="1205"/>
                  </a:cubicBezTo>
                  <a:cubicBezTo>
                    <a:pt x="2538" y="1224"/>
                    <a:pt x="2522" y="1247"/>
                    <a:pt x="2505" y="1227"/>
                  </a:cubicBezTo>
                  <a:cubicBezTo>
                    <a:pt x="2488" y="1206"/>
                    <a:pt x="2489" y="1193"/>
                    <a:pt x="2511" y="1187"/>
                  </a:cubicBezTo>
                  <a:close/>
                  <a:moveTo>
                    <a:pt x="2441" y="1003"/>
                  </a:moveTo>
                  <a:cubicBezTo>
                    <a:pt x="2419" y="1009"/>
                    <a:pt x="2418" y="1022"/>
                    <a:pt x="2434" y="1043"/>
                  </a:cubicBezTo>
                  <a:cubicBezTo>
                    <a:pt x="2451" y="1063"/>
                    <a:pt x="2468" y="1040"/>
                    <a:pt x="2472" y="1021"/>
                  </a:cubicBezTo>
                  <a:cubicBezTo>
                    <a:pt x="2476" y="1001"/>
                    <a:pt x="2460" y="992"/>
                    <a:pt x="2441" y="1003"/>
                  </a:cubicBezTo>
                  <a:close/>
                  <a:moveTo>
                    <a:pt x="2256" y="1304"/>
                  </a:moveTo>
                  <a:lnTo>
                    <a:pt x="2256" y="1033"/>
                  </a:lnTo>
                  <a:cubicBezTo>
                    <a:pt x="2265" y="1032"/>
                    <a:pt x="2273" y="1030"/>
                    <a:pt x="2282" y="1027"/>
                  </a:cubicBezTo>
                  <a:cubicBezTo>
                    <a:pt x="2349" y="1002"/>
                    <a:pt x="2422" y="996"/>
                    <a:pt x="2373" y="1112"/>
                  </a:cubicBezTo>
                  <a:cubicBezTo>
                    <a:pt x="2348" y="1170"/>
                    <a:pt x="2304" y="1241"/>
                    <a:pt x="2256" y="1304"/>
                  </a:cubicBezTo>
                  <a:close/>
                  <a:moveTo>
                    <a:pt x="2256" y="2382"/>
                  </a:moveTo>
                  <a:lnTo>
                    <a:pt x="2256" y="1950"/>
                  </a:lnTo>
                  <a:cubicBezTo>
                    <a:pt x="2285" y="1914"/>
                    <a:pt x="2315" y="1882"/>
                    <a:pt x="2338" y="1880"/>
                  </a:cubicBezTo>
                  <a:cubicBezTo>
                    <a:pt x="2409" y="1876"/>
                    <a:pt x="2409" y="1963"/>
                    <a:pt x="2362" y="2002"/>
                  </a:cubicBezTo>
                  <a:cubicBezTo>
                    <a:pt x="2315" y="2041"/>
                    <a:pt x="2409" y="2237"/>
                    <a:pt x="2358" y="2257"/>
                  </a:cubicBezTo>
                  <a:cubicBezTo>
                    <a:pt x="2321" y="2271"/>
                    <a:pt x="2293" y="2340"/>
                    <a:pt x="2256" y="238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r" defTabSz="914400" rtl="1"/>
              <a:endParaRPr lang="en-US"/>
            </a:p>
          </p:txBody>
        </p:sp>
        <p:sp>
          <p:nvSpPr>
            <p:cNvPr id="26" name="Freeform 188">
              <a:extLst>
                <a:ext uri="{FF2B5EF4-FFF2-40B4-BE49-F238E27FC236}">
                  <a16:creationId xmlns:a16="http://schemas.microsoft.com/office/drawing/2014/main" id="{97B74548-BEB7-49F2-AB01-259DB1729D9E}"/>
                </a:ext>
              </a:extLst>
            </p:cNvPr>
            <p:cNvSpPr>
              <a:spLocks noEditPoints="1"/>
            </p:cNvSpPr>
            <p:nvPr/>
          </p:nvSpPr>
          <p:spPr bwMode="auto">
            <a:xfrm>
              <a:off x="6373813" y="1784350"/>
              <a:ext cx="2906713" cy="2105025"/>
            </a:xfrm>
            <a:custGeom>
              <a:avLst/>
              <a:gdLst>
                <a:gd name="T0" fmla="*/ 1603 w 5662"/>
                <a:gd name="T1" fmla="*/ 3421 h 4102"/>
                <a:gd name="T2" fmla="*/ 1166 w 5662"/>
                <a:gd name="T3" fmla="*/ 881 h 4102"/>
                <a:gd name="T4" fmla="*/ 417 w 5662"/>
                <a:gd name="T5" fmla="*/ 2250 h 4102"/>
                <a:gd name="T6" fmla="*/ 595 w 5662"/>
                <a:gd name="T7" fmla="*/ 3311 h 4102"/>
                <a:gd name="T8" fmla="*/ 1616 w 5662"/>
                <a:gd name="T9" fmla="*/ 3287 h 4102"/>
                <a:gd name="T10" fmla="*/ 1653 w 5662"/>
                <a:gd name="T11" fmla="*/ 3719 h 4102"/>
                <a:gd name="T12" fmla="*/ 1632 w 5662"/>
                <a:gd name="T13" fmla="*/ 3597 h 4102"/>
                <a:gd name="T14" fmla="*/ 1632 w 5662"/>
                <a:gd name="T15" fmla="*/ 738 h 4102"/>
                <a:gd name="T16" fmla="*/ 1675 w 5662"/>
                <a:gd name="T17" fmla="*/ 3670 h 4102"/>
                <a:gd name="T18" fmla="*/ 1675 w 5662"/>
                <a:gd name="T19" fmla="*/ 3593 h 4102"/>
                <a:gd name="T20" fmla="*/ 1675 w 5662"/>
                <a:gd name="T21" fmla="*/ 644 h 4102"/>
                <a:gd name="T22" fmla="*/ 1676 w 5662"/>
                <a:gd name="T23" fmla="*/ 3745 h 4102"/>
                <a:gd name="T24" fmla="*/ 1675 w 5662"/>
                <a:gd name="T25" fmla="*/ 3377 h 4102"/>
                <a:gd name="T26" fmla="*/ 1884 w 5662"/>
                <a:gd name="T27" fmla="*/ 3483 h 4102"/>
                <a:gd name="T28" fmla="*/ 2108 w 5662"/>
                <a:gd name="T29" fmla="*/ 3093 h 4102"/>
                <a:gd name="T30" fmla="*/ 2316 w 5662"/>
                <a:gd name="T31" fmla="*/ 399 h 4102"/>
                <a:gd name="T32" fmla="*/ 2341 w 5662"/>
                <a:gd name="T33" fmla="*/ 3578 h 4102"/>
                <a:gd name="T34" fmla="*/ 2521 w 5662"/>
                <a:gd name="T35" fmla="*/ 3396 h 4102"/>
                <a:gd name="T36" fmla="*/ 2604 w 5662"/>
                <a:gd name="T37" fmla="*/ 380 h 4102"/>
                <a:gd name="T38" fmla="*/ 2906 w 5662"/>
                <a:gd name="T39" fmla="*/ 4102 h 4102"/>
                <a:gd name="T40" fmla="*/ 2906 w 5662"/>
                <a:gd name="T41" fmla="*/ 469 h 4102"/>
                <a:gd name="T42" fmla="*/ 2685 w 5662"/>
                <a:gd name="T43" fmla="*/ 243 h 4102"/>
                <a:gd name="T44" fmla="*/ 2906 w 5662"/>
                <a:gd name="T45" fmla="*/ 3148 h 4102"/>
                <a:gd name="T46" fmla="*/ 2914 w 5662"/>
                <a:gd name="T47" fmla="*/ 4102 h 4102"/>
                <a:gd name="T48" fmla="*/ 3311 w 5662"/>
                <a:gd name="T49" fmla="*/ 3210 h 4102"/>
                <a:gd name="T50" fmla="*/ 3208 w 5662"/>
                <a:gd name="T51" fmla="*/ 2376 h 4102"/>
                <a:gd name="T52" fmla="*/ 3311 w 5662"/>
                <a:gd name="T53" fmla="*/ 3015 h 4102"/>
                <a:gd name="T54" fmla="*/ 3311 w 5662"/>
                <a:gd name="T55" fmla="*/ 3944 h 4102"/>
                <a:gd name="T56" fmla="*/ 3317 w 5662"/>
                <a:gd name="T57" fmla="*/ 602 h 4102"/>
                <a:gd name="T58" fmla="*/ 3476 w 5662"/>
                <a:gd name="T59" fmla="*/ 634 h 4102"/>
                <a:gd name="T60" fmla="*/ 3525 w 5662"/>
                <a:gd name="T61" fmla="*/ 2845 h 4102"/>
                <a:gd name="T62" fmla="*/ 3525 w 5662"/>
                <a:gd name="T63" fmla="*/ 2312 h 4102"/>
                <a:gd name="T64" fmla="*/ 3525 w 5662"/>
                <a:gd name="T65" fmla="*/ 635 h 4102"/>
                <a:gd name="T66" fmla="*/ 3641 w 5662"/>
                <a:gd name="T67" fmla="*/ 2642 h 4102"/>
                <a:gd name="T68" fmla="*/ 3644 w 5662"/>
                <a:gd name="T69" fmla="*/ 2588 h 4102"/>
                <a:gd name="T70" fmla="*/ 3760 w 5662"/>
                <a:gd name="T71" fmla="*/ 2175 h 4102"/>
                <a:gd name="T72" fmla="*/ 3822 w 5662"/>
                <a:gd name="T73" fmla="*/ 2414 h 4102"/>
                <a:gd name="T74" fmla="*/ 3802 w 5662"/>
                <a:gd name="T75" fmla="*/ 699 h 4102"/>
                <a:gd name="T76" fmla="*/ 3842 w 5662"/>
                <a:gd name="T77" fmla="*/ 2442 h 4102"/>
                <a:gd name="T78" fmla="*/ 3874 w 5662"/>
                <a:gd name="T79" fmla="*/ 695 h 4102"/>
                <a:gd name="T80" fmla="*/ 3961 w 5662"/>
                <a:gd name="T81" fmla="*/ 1750 h 4102"/>
                <a:gd name="T82" fmla="*/ 3982 w 5662"/>
                <a:gd name="T83" fmla="*/ 2456 h 4102"/>
                <a:gd name="T84" fmla="*/ 4047 w 5662"/>
                <a:gd name="T85" fmla="*/ 2071 h 4102"/>
                <a:gd name="T86" fmla="*/ 4047 w 5662"/>
                <a:gd name="T87" fmla="*/ 1399 h 4102"/>
                <a:gd name="T88" fmla="*/ 4047 w 5662"/>
                <a:gd name="T89" fmla="*/ 339 h 4102"/>
                <a:gd name="T90" fmla="*/ 4013 w 5662"/>
                <a:gd name="T91" fmla="*/ 2243 h 4102"/>
                <a:gd name="T92" fmla="*/ 4047 w 5662"/>
                <a:gd name="T93" fmla="*/ 1723 h 4102"/>
                <a:gd name="T94" fmla="*/ 4075 w 5662"/>
                <a:gd name="T95" fmla="*/ 2077 h 4102"/>
                <a:gd name="T96" fmla="*/ 4174 w 5662"/>
                <a:gd name="T97" fmla="*/ 705 h 4102"/>
                <a:gd name="T98" fmla="*/ 4047 w 5662"/>
                <a:gd name="T99" fmla="*/ 2091 h 4102"/>
                <a:gd name="T100" fmla="*/ 4534 w 5662"/>
                <a:gd name="T101" fmla="*/ 1517 h 4102"/>
                <a:gd name="T102" fmla="*/ 4635 w 5662"/>
                <a:gd name="T103" fmla="*/ 1282 h 4102"/>
                <a:gd name="T104" fmla="*/ 4708 w 5662"/>
                <a:gd name="T105" fmla="*/ 1694 h 4102"/>
                <a:gd name="T106" fmla="*/ 4795 w 5662"/>
                <a:gd name="T107" fmla="*/ 1300 h 4102"/>
                <a:gd name="T108" fmla="*/ 4915 w 5662"/>
                <a:gd name="T109" fmla="*/ 1643 h 4102"/>
                <a:gd name="T110" fmla="*/ 4811 w 5662"/>
                <a:gd name="T111" fmla="*/ 839 h 4102"/>
                <a:gd name="T112" fmla="*/ 4915 w 5662"/>
                <a:gd name="T113" fmla="*/ 1344 h 4102"/>
                <a:gd name="T114" fmla="*/ 5333 w 5662"/>
                <a:gd name="T115" fmla="*/ 698 h 4102"/>
                <a:gd name="T116" fmla="*/ 5395 w 5662"/>
                <a:gd name="T117" fmla="*/ 1070 h 4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62" h="4102">
                  <a:moveTo>
                    <a:pt x="1632" y="3682"/>
                  </a:moveTo>
                  <a:lnTo>
                    <a:pt x="1632" y="3694"/>
                  </a:lnTo>
                  <a:cubicBezTo>
                    <a:pt x="1630" y="3689"/>
                    <a:pt x="1630" y="3685"/>
                    <a:pt x="1632" y="3682"/>
                  </a:cubicBezTo>
                  <a:close/>
                  <a:moveTo>
                    <a:pt x="1632" y="3546"/>
                  </a:moveTo>
                  <a:lnTo>
                    <a:pt x="1632" y="3597"/>
                  </a:lnTo>
                  <a:cubicBezTo>
                    <a:pt x="1627" y="3597"/>
                    <a:pt x="1623" y="3595"/>
                    <a:pt x="1618" y="3589"/>
                  </a:cubicBezTo>
                  <a:cubicBezTo>
                    <a:pt x="1602" y="3569"/>
                    <a:pt x="1603" y="3556"/>
                    <a:pt x="1625" y="3549"/>
                  </a:cubicBezTo>
                  <a:cubicBezTo>
                    <a:pt x="1627" y="3548"/>
                    <a:pt x="1629" y="3547"/>
                    <a:pt x="1632" y="3546"/>
                  </a:cubicBezTo>
                  <a:close/>
                  <a:moveTo>
                    <a:pt x="1632" y="3378"/>
                  </a:moveTo>
                  <a:lnTo>
                    <a:pt x="1632" y="3419"/>
                  </a:lnTo>
                  <a:cubicBezTo>
                    <a:pt x="1624" y="3429"/>
                    <a:pt x="1613" y="3434"/>
                    <a:pt x="1603" y="3421"/>
                  </a:cubicBezTo>
                  <a:cubicBezTo>
                    <a:pt x="1586" y="3400"/>
                    <a:pt x="1587" y="3387"/>
                    <a:pt x="1609" y="3381"/>
                  </a:cubicBezTo>
                  <a:cubicBezTo>
                    <a:pt x="1618" y="3376"/>
                    <a:pt x="1626" y="3375"/>
                    <a:pt x="1632" y="3378"/>
                  </a:cubicBezTo>
                  <a:close/>
                  <a:moveTo>
                    <a:pt x="1632" y="1011"/>
                  </a:moveTo>
                  <a:cubicBezTo>
                    <a:pt x="1624" y="1017"/>
                    <a:pt x="1615" y="1022"/>
                    <a:pt x="1604" y="1027"/>
                  </a:cubicBezTo>
                  <a:cubicBezTo>
                    <a:pt x="1519" y="1063"/>
                    <a:pt x="1488" y="1021"/>
                    <a:pt x="1531" y="966"/>
                  </a:cubicBezTo>
                  <a:cubicBezTo>
                    <a:pt x="1573" y="912"/>
                    <a:pt x="1598" y="875"/>
                    <a:pt x="1579" y="778"/>
                  </a:cubicBezTo>
                  <a:cubicBezTo>
                    <a:pt x="1561" y="681"/>
                    <a:pt x="1579" y="590"/>
                    <a:pt x="1519" y="602"/>
                  </a:cubicBezTo>
                  <a:cubicBezTo>
                    <a:pt x="1458" y="614"/>
                    <a:pt x="1415" y="766"/>
                    <a:pt x="1415" y="820"/>
                  </a:cubicBezTo>
                  <a:cubicBezTo>
                    <a:pt x="1415" y="875"/>
                    <a:pt x="1458" y="893"/>
                    <a:pt x="1385" y="893"/>
                  </a:cubicBezTo>
                  <a:cubicBezTo>
                    <a:pt x="1312" y="893"/>
                    <a:pt x="1288" y="820"/>
                    <a:pt x="1233" y="820"/>
                  </a:cubicBezTo>
                  <a:cubicBezTo>
                    <a:pt x="1178" y="820"/>
                    <a:pt x="1221" y="881"/>
                    <a:pt x="1166" y="881"/>
                  </a:cubicBezTo>
                  <a:cubicBezTo>
                    <a:pt x="1121" y="881"/>
                    <a:pt x="1051" y="898"/>
                    <a:pt x="984" y="921"/>
                  </a:cubicBezTo>
                  <a:cubicBezTo>
                    <a:pt x="988" y="922"/>
                    <a:pt x="992" y="923"/>
                    <a:pt x="996" y="924"/>
                  </a:cubicBezTo>
                  <a:cubicBezTo>
                    <a:pt x="1181" y="965"/>
                    <a:pt x="822" y="1242"/>
                    <a:pt x="852" y="1396"/>
                  </a:cubicBezTo>
                  <a:cubicBezTo>
                    <a:pt x="883" y="1550"/>
                    <a:pt x="852" y="1673"/>
                    <a:pt x="955" y="1673"/>
                  </a:cubicBezTo>
                  <a:cubicBezTo>
                    <a:pt x="1058" y="1673"/>
                    <a:pt x="1006" y="1847"/>
                    <a:pt x="893" y="1827"/>
                  </a:cubicBezTo>
                  <a:cubicBezTo>
                    <a:pt x="787" y="1807"/>
                    <a:pt x="744" y="1907"/>
                    <a:pt x="809" y="2056"/>
                  </a:cubicBezTo>
                  <a:cubicBezTo>
                    <a:pt x="837" y="2061"/>
                    <a:pt x="877" y="2041"/>
                    <a:pt x="907" y="2074"/>
                  </a:cubicBezTo>
                  <a:cubicBezTo>
                    <a:pt x="928" y="2097"/>
                    <a:pt x="890" y="2141"/>
                    <a:pt x="913" y="2173"/>
                  </a:cubicBezTo>
                  <a:cubicBezTo>
                    <a:pt x="941" y="2212"/>
                    <a:pt x="1034" y="2237"/>
                    <a:pt x="1060" y="2248"/>
                  </a:cubicBezTo>
                  <a:cubicBezTo>
                    <a:pt x="1222" y="2320"/>
                    <a:pt x="989" y="2441"/>
                    <a:pt x="863" y="2411"/>
                  </a:cubicBezTo>
                  <a:cubicBezTo>
                    <a:pt x="715" y="2377"/>
                    <a:pt x="563" y="2325"/>
                    <a:pt x="417" y="2250"/>
                  </a:cubicBezTo>
                  <a:cubicBezTo>
                    <a:pt x="368" y="2240"/>
                    <a:pt x="319" y="2218"/>
                    <a:pt x="279" y="2218"/>
                  </a:cubicBezTo>
                  <a:cubicBezTo>
                    <a:pt x="225" y="2218"/>
                    <a:pt x="176" y="2230"/>
                    <a:pt x="121" y="2254"/>
                  </a:cubicBezTo>
                  <a:cubicBezTo>
                    <a:pt x="67" y="2279"/>
                    <a:pt x="36" y="2333"/>
                    <a:pt x="18" y="2394"/>
                  </a:cubicBezTo>
                  <a:cubicBezTo>
                    <a:pt x="0" y="2455"/>
                    <a:pt x="42" y="2473"/>
                    <a:pt x="146" y="2473"/>
                  </a:cubicBezTo>
                  <a:cubicBezTo>
                    <a:pt x="249" y="2473"/>
                    <a:pt x="334" y="2485"/>
                    <a:pt x="328" y="2540"/>
                  </a:cubicBezTo>
                  <a:cubicBezTo>
                    <a:pt x="322" y="2594"/>
                    <a:pt x="261" y="2649"/>
                    <a:pt x="200" y="2655"/>
                  </a:cubicBezTo>
                  <a:lnTo>
                    <a:pt x="198" y="2655"/>
                  </a:lnTo>
                  <a:lnTo>
                    <a:pt x="245" y="2747"/>
                  </a:lnTo>
                  <a:cubicBezTo>
                    <a:pt x="247" y="2747"/>
                    <a:pt x="248" y="2747"/>
                    <a:pt x="249" y="2746"/>
                  </a:cubicBezTo>
                  <a:cubicBezTo>
                    <a:pt x="291" y="2740"/>
                    <a:pt x="334" y="2813"/>
                    <a:pt x="376" y="2929"/>
                  </a:cubicBezTo>
                  <a:cubicBezTo>
                    <a:pt x="419" y="3044"/>
                    <a:pt x="540" y="3184"/>
                    <a:pt x="595" y="3311"/>
                  </a:cubicBezTo>
                  <a:cubicBezTo>
                    <a:pt x="650" y="3439"/>
                    <a:pt x="717" y="3342"/>
                    <a:pt x="771" y="3305"/>
                  </a:cubicBezTo>
                  <a:cubicBezTo>
                    <a:pt x="826" y="3269"/>
                    <a:pt x="990" y="3238"/>
                    <a:pt x="1008" y="3190"/>
                  </a:cubicBezTo>
                  <a:cubicBezTo>
                    <a:pt x="1027" y="3141"/>
                    <a:pt x="1148" y="2995"/>
                    <a:pt x="1112" y="2953"/>
                  </a:cubicBezTo>
                  <a:cubicBezTo>
                    <a:pt x="1075" y="2910"/>
                    <a:pt x="1002" y="2892"/>
                    <a:pt x="941" y="2916"/>
                  </a:cubicBezTo>
                  <a:cubicBezTo>
                    <a:pt x="881" y="2941"/>
                    <a:pt x="826" y="2831"/>
                    <a:pt x="790" y="2771"/>
                  </a:cubicBezTo>
                  <a:cubicBezTo>
                    <a:pt x="753" y="2710"/>
                    <a:pt x="832" y="2692"/>
                    <a:pt x="875" y="2789"/>
                  </a:cubicBezTo>
                  <a:cubicBezTo>
                    <a:pt x="917" y="2886"/>
                    <a:pt x="984" y="2831"/>
                    <a:pt x="1051" y="2880"/>
                  </a:cubicBezTo>
                  <a:cubicBezTo>
                    <a:pt x="1118" y="2929"/>
                    <a:pt x="1099" y="2880"/>
                    <a:pt x="1209" y="2880"/>
                  </a:cubicBezTo>
                  <a:cubicBezTo>
                    <a:pt x="1318" y="2880"/>
                    <a:pt x="1312" y="2868"/>
                    <a:pt x="1397" y="2941"/>
                  </a:cubicBezTo>
                  <a:cubicBezTo>
                    <a:pt x="1482" y="3014"/>
                    <a:pt x="1531" y="3038"/>
                    <a:pt x="1585" y="3038"/>
                  </a:cubicBezTo>
                  <a:cubicBezTo>
                    <a:pt x="1640" y="3038"/>
                    <a:pt x="1561" y="3220"/>
                    <a:pt x="1616" y="3287"/>
                  </a:cubicBezTo>
                  <a:cubicBezTo>
                    <a:pt x="1621" y="3293"/>
                    <a:pt x="1626" y="3300"/>
                    <a:pt x="1632" y="3308"/>
                  </a:cubicBezTo>
                  <a:lnTo>
                    <a:pt x="1632" y="1011"/>
                  </a:lnTo>
                  <a:close/>
                  <a:moveTo>
                    <a:pt x="1632" y="678"/>
                  </a:moveTo>
                  <a:lnTo>
                    <a:pt x="1632" y="738"/>
                  </a:lnTo>
                  <a:cubicBezTo>
                    <a:pt x="1626" y="717"/>
                    <a:pt x="1624" y="696"/>
                    <a:pt x="1632" y="678"/>
                  </a:cubicBezTo>
                  <a:close/>
                  <a:moveTo>
                    <a:pt x="1632" y="3419"/>
                  </a:moveTo>
                  <a:lnTo>
                    <a:pt x="1632" y="3378"/>
                  </a:lnTo>
                  <a:cubicBezTo>
                    <a:pt x="1638" y="3381"/>
                    <a:pt x="1642" y="3388"/>
                    <a:pt x="1640" y="3399"/>
                  </a:cubicBezTo>
                  <a:cubicBezTo>
                    <a:pt x="1639" y="3406"/>
                    <a:pt x="1636" y="3413"/>
                    <a:pt x="1632" y="3419"/>
                  </a:cubicBezTo>
                  <a:close/>
                  <a:moveTo>
                    <a:pt x="1653" y="3669"/>
                  </a:moveTo>
                  <a:lnTo>
                    <a:pt x="1653" y="3719"/>
                  </a:lnTo>
                  <a:cubicBezTo>
                    <a:pt x="1649" y="3718"/>
                    <a:pt x="1646" y="3715"/>
                    <a:pt x="1642" y="3711"/>
                  </a:cubicBezTo>
                  <a:cubicBezTo>
                    <a:pt x="1637" y="3704"/>
                    <a:pt x="1633" y="3699"/>
                    <a:pt x="1632" y="3694"/>
                  </a:cubicBezTo>
                  <a:lnTo>
                    <a:pt x="1632" y="3682"/>
                  </a:lnTo>
                  <a:cubicBezTo>
                    <a:pt x="1634" y="3677"/>
                    <a:pt x="1639" y="3673"/>
                    <a:pt x="1648" y="3671"/>
                  </a:cubicBezTo>
                  <a:cubicBezTo>
                    <a:pt x="1650" y="3670"/>
                    <a:pt x="1652" y="3669"/>
                    <a:pt x="1653" y="3669"/>
                  </a:cubicBezTo>
                  <a:close/>
                  <a:moveTo>
                    <a:pt x="1653" y="3604"/>
                  </a:moveTo>
                  <a:lnTo>
                    <a:pt x="1653" y="3624"/>
                  </a:lnTo>
                  <a:cubicBezTo>
                    <a:pt x="1649" y="3616"/>
                    <a:pt x="1649" y="3609"/>
                    <a:pt x="1653" y="3604"/>
                  </a:cubicBezTo>
                  <a:close/>
                  <a:moveTo>
                    <a:pt x="1653" y="3551"/>
                  </a:moveTo>
                  <a:lnTo>
                    <a:pt x="1653" y="3576"/>
                  </a:lnTo>
                  <a:cubicBezTo>
                    <a:pt x="1649" y="3587"/>
                    <a:pt x="1641" y="3598"/>
                    <a:pt x="1632" y="3597"/>
                  </a:cubicBezTo>
                  <a:lnTo>
                    <a:pt x="1632" y="3546"/>
                  </a:lnTo>
                  <a:cubicBezTo>
                    <a:pt x="1641" y="3543"/>
                    <a:pt x="1649" y="3545"/>
                    <a:pt x="1653" y="3551"/>
                  </a:cubicBezTo>
                  <a:close/>
                  <a:moveTo>
                    <a:pt x="1653" y="987"/>
                  </a:moveTo>
                  <a:lnTo>
                    <a:pt x="1653" y="3341"/>
                  </a:lnTo>
                  <a:cubicBezTo>
                    <a:pt x="1646" y="3330"/>
                    <a:pt x="1639" y="3318"/>
                    <a:pt x="1632" y="3308"/>
                  </a:cubicBezTo>
                  <a:lnTo>
                    <a:pt x="1632" y="1011"/>
                  </a:lnTo>
                  <a:cubicBezTo>
                    <a:pt x="1642" y="1003"/>
                    <a:pt x="1648" y="995"/>
                    <a:pt x="1653" y="987"/>
                  </a:cubicBezTo>
                  <a:moveTo>
                    <a:pt x="1653" y="654"/>
                  </a:moveTo>
                  <a:lnTo>
                    <a:pt x="1653" y="857"/>
                  </a:lnTo>
                  <a:cubicBezTo>
                    <a:pt x="1638" y="852"/>
                    <a:pt x="1631" y="844"/>
                    <a:pt x="1640" y="827"/>
                  </a:cubicBezTo>
                  <a:cubicBezTo>
                    <a:pt x="1652" y="803"/>
                    <a:pt x="1639" y="770"/>
                    <a:pt x="1632" y="738"/>
                  </a:cubicBezTo>
                  <a:lnTo>
                    <a:pt x="1632" y="678"/>
                  </a:lnTo>
                  <a:cubicBezTo>
                    <a:pt x="1636" y="669"/>
                    <a:pt x="1642" y="661"/>
                    <a:pt x="1653" y="654"/>
                  </a:cubicBezTo>
                  <a:close/>
                  <a:moveTo>
                    <a:pt x="1653" y="3576"/>
                  </a:moveTo>
                  <a:lnTo>
                    <a:pt x="1653" y="3551"/>
                  </a:lnTo>
                  <a:cubicBezTo>
                    <a:pt x="1656" y="3555"/>
                    <a:pt x="1657" y="3560"/>
                    <a:pt x="1656" y="3567"/>
                  </a:cubicBezTo>
                  <a:cubicBezTo>
                    <a:pt x="1655" y="3570"/>
                    <a:pt x="1654" y="3573"/>
                    <a:pt x="1653" y="3576"/>
                  </a:cubicBezTo>
                  <a:close/>
                  <a:moveTo>
                    <a:pt x="1675" y="3746"/>
                  </a:moveTo>
                  <a:lnTo>
                    <a:pt x="1675" y="3790"/>
                  </a:lnTo>
                  <a:cubicBezTo>
                    <a:pt x="1673" y="3789"/>
                    <a:pt x="1671" y="3788"/>
                    <a:pt x="1669" y="3785"/>
                  </a:cubicBezTo>
                  <a:cubicBezTo>
                    <a:pt x="1653" y="3765"/>
                    <a:pt x="1654" y="3752"/>
                    <a:pt x="1675" y="3746"/>
                  </a:cubicBezTo>
                  <a:close/>
                  <a:moveTo>
                    <a:pt x="1675" y="3670"/>
                  </a:moveTo>
                  <a:lnTo>
                    <a:pt x="1675" y="3702"/>
                  </a:lnTo>
                  <a:cubicBezTo>
                    <a:pt x="1670" y="3712"/>
                    <a:pt x="1662" y="3720"/>
                    <a:pt x="1653" y="3719"/>
                  </a:cubicBezTo>
                  <a:lnTo>
                    <a:pt x="1653" y="3669"/>
                  </a:lnTo>
                  <a:cubicBezTo>
                    <a:pt x="1662" y="3665"/>
                    <a:pt x="1670" y="3666"/>
                    <a:pt x="1675" y="3670"/>
                  </a:cubicBezTo>
                  <a:close/>
                  <a:moveTo>
                    <a:pt x="1675" y="3593"/>
                  </a:moveTo>
                  <a:lnTo>
                    <a:pt x="1675" y="3644"/>
                  </a:lnTo>
                  <a:cubicBezTo>
                    <a:pt x="1670" y="3644"/>
                    <a:pt x="1666" y="3642"/>
                    <a:pt x="1661" y="3636"/>
                  </a:cubicBezTo>
                  <a:cubicBezTo>
                    <a:pt x="1658" y="3632"/>
                    <a:pt x="1655" y="3628"/>
                    <a:pt x="1653" y="3624"/>
                  </a:cubicBezTo>
                  <a:lnTo>
                    <a:pt x="1653" y="3604"/>
                  </a:lnTo>
                  <a:cubicBezTo>
                    <a:pt x="1656" y="3601"/>
                    <a:pt x="1661" y="3598"/>
                    <a:pt x="1668" y="3596"/>
                  </a:cubicBezTo>
                  <a:cubicBezTo>
                    <a:pt x="1670" y="3595"/>
                    <a:pt x="1673" y="3594"/>
                    <a:pt x="1675" y="3593"/>
                  </a:cubicBezTo>
                  <a:close/>
                  <a:moveTo>
                    <a:pt x="1675" y="934"/>
                  </a:moveTo>
                  <a:lnTo>
                    <a:pt x="1675" y="3377"/>
                  </a:lnTo>
                  <a:cubicBezTo>
                    <a:pt x="1668" y="3365"/>
                    <a:pt x="1660" y="3353"/>
                    <a:pt x="1653" y="3341"/>
                  </a:cubicBezTo>
                  <a:lnTo>
                    <a:pt x="1653" y="987"/>
                  </a:lnTo>
                  <a:cubicBezTo>
                    <a:pt x="1666" y="964"/>
                    <a:pt x="1663" y="942"/>
                    <a:pt x="1675" y="934"/>
                  </a:cubicBezTo>
                  <a:close/>
                  <a:moveTo>
                    <a:pt x="1675" y="644"/>
                  </a:moveTo>
                  <a:lnTo>
                    <a:pt x="1675" y="861"/>
                  </a:lnTo>
                  <a:cubicBezTo>
                    <a:pt x="1666" y="860"/>
                    <a:pt x="1659" y="859"/>
                    <a:pt x="1653" y="857"/>
                  </a:cubicBezTo>
                  <a:lnTo>
                    <a:pt x="1653" y="654"/>
                  </a:lnTo>
                  <a:cubicBezTo>
                    <a:pt x="1655" y="653"/>
                    <a:pt x="1657" y="651"/>
                    <a:pt x="1658" y="650"/>
                  </a:cubicBezTo>
                  <a:cubicBezTo>
                    <a:pt x="1665" y="646"/>
                    <a:pt x="1671" y="644"/>
                    <a:pt x="1675" y="644"/>
                  </a:cubicBezTo>
                  <a:close/>
                  <a:moveTo>
                    <a:pt x="1675" y="3644"/>
                  </a:moveTo>
                  <a:lnTo>
                    <a:pt x="1675" y="3593"/>
                  </a:lnTo>
                  <a:cubicBezTo>
                    <a:pt x="1691" y="3588"/>
                    <a:pt x="1702" y="3597"/>
                    <a:pt x="1699" y="3614"/>
                  </a:cubicBezTo>
                  <a:cubicBezTo>
                    <a:pt x="1696" y="3629"/>
                    <a:pt x="1686" y="3645"/>
                    <a:pt x="1675" y="3644"/>
                  </a:cubicBezTo>
                  <a:close/>
                  <a:moveTo>
                    <a:pt x="1675" y="3702"/>
                  </a:moveTo>
                  <a:lnTo>
                    <a:pt x="1675" y="3670"/>
                  </a:lnTo>
                  <a:cubicBezTo>
                    <a:pt x="1679" y="3674"/>
                    <a:pt x="1681" y="3681"/>
                    <a:pt x="1679" y="3689"/>
                  </a:cubicBezTo>
                  <a:cubicBezTo>
                    <a:pt x="1678" y="3693"/>
                    <a:pt x="1677" y="3698"/>
                    <a:pt x="1675" y="3702"/>
                  </a:cubicBezTo>
                  <a:close/>
                  <a:moveTo>
                    <a:pt x="1675" y="3790"/>
                  </a:moveTo>
                  <a:lnTo>
                    <a:pt x="1675" y="3746"/>
                  </a:lnTo>
                  <a:lnTo>
                    <a:pt x="1676" y="3745"/>
                  </a:lnTo>
                  <a:cubicBezTo>
                    <a:pt x="1695" y="3735"/>
                    <a:pt x="1711" y="3744"/>
                    <a:pt x="1707" y="3763"/>
                  </a:cubicBezTo>
                  <a:cubicBezTo>
                    <a:pt x="1703" y="3781"/>
                    <a:pt x="1690" y="3801"/>
                    <a:pt x="1675" y="3790"/>
                  </a:cubicBezTo>
                  <a:close/>
                  <a:moveTo>
                    <a:pt x="1884" y="3483"/>
                  </a:moveTo>
                  <a:cubicBezTo>
                    <a:pt x="1881" y="3482"/>
                    <a:pt x="1878" y="3482"/>
                    <a:pt x="1875" y="3483"/>
                  </a:cubicBezTo>
                  <a:cubicBezTo>
                    <a:pt x="1822" y="3475"/>
                    <a:pt x="1840" y="3581"/>
                    <a:pt x="1884" y="3586"/>
                  </a:cubicBezTo>
                  <a:lnTo>
                    <a:pt x="1884" y="3483"/>
                  </a:lnTo>
                  <a:close/>
                  <a:moveTo>
                    <a:pt x="1884" y="688"/>
                  </a:moveTo>
                  <a:lnTo>
                    <a:pt x="1884" y="3247"/>
                  </a:lnTo>
                  <a:cubicBezTo>
                    <a:pt x="1870" y="3273"/>
                    <a:pt x="1880" y="3351"/>
                    <a:pt x="1865" y="3402"/>
                  </a:cubicBezTo>
                  <a:cubicBezTo>
                    <a:pt x="1847" y="3463"/>
                    <a:pt x="1816" y="3512"/>
                    <a:pt x="1774" y="3506"/>
                  </a:cubicBezTo>
                  <a:cubicBezTo>
                    <a:pt x="1746" y="3502"/>
                    <a:pt x="1711" y="3439"/>
                    <a:pt x="1675" y="3377"/>
                  </a:cubicBezTo>
                  <a:lnTo>
                    <a:pt x="1675" y="934"/>
                  </a:lnTo>
                  <a:cubicBezTo>
                    <a:pt x="1678" y="931"/>
                    <a:pt x="1682" y="930"/>
                    <a:pt x="1689" y="930"/>
                  </a:cubicBezTo>
                  <a:cubicBezTo>
                    <a:pt x="1731" y="930"/>
                    <a:pt x="1774" y="1003"/>
                    <a:pt x="1835" y="1003"/>
                  </a:cubicBezTo>
                  <a:cubicBezTo>
                    <a:pt x="1895" y="1003"/>
                    <a:pt x="1841" y="912"/>
                    <a:pt x="1774" y="881"/>
                  </a:cubicBezTo>
                  <a:cubicBezTo>
                    <a:pt x="1741" y="866"/>
                    <a:pt x="1703" y="865"/>
                    <a:pt x="1675" y="861"/>
                  </a:cubicBezTo>
                  <a:lnTo>
                    <a:pt x="1675" y="644"/>
                  </a:lnTo>
                  <a:cubicBezTo>
                    <a:pt x="1711" y="640"/>
                    <a:pt x="1628" y="779"/>
                    <a:pt x="1737" y="729"/>
                  </a:cubicBezTo>
                  <a:cubicBezTo>
                    <a:pt x="1859" y="675"/>
                    <a:pt x="1762" y="681"/>
                    <a:pt x="1822" y="669"/>
                  </a:cubicBezTo>
                  <a:cubicBezTo>
                    <a:pt x="1851" y="663"/>
                    <a:pt x="1871" y="672"/>
                    <a:pt x="1884" y="688"/>
                  </a:cubicBezTo>
                  <a:close/>
                  <a:moveTo>
                    <a:pt x="1884" y="3586"/>
                  </a:moveTo>
                  <a:lnTo>
                    <a:pt x="1884" y="3483"/>
                  </a:lnTo>
                  <a:cubicBezTo>
                    <a:pt x="1923" y="3488"/>
                    <a:pt x="1950" y="3566"/>
                    <a:pt x="1899" y="3584"/>
                  </a:cubicBezTo>
                  <a:cubicBezTo>
                    <a:pt x="1894" y="3586"/>
                    <a:pt x="1889" y="3586"/>
                    <a:pt x="1884" y="3586"/>
                  </a:cubicBezTo>
                  <a:moveTo>
                    <a:pt x="2341" y="3527"/>
                  </a:moveTo>
                  <a:lnTo>
                    <a:pt x="2341" y="3578"/>
                  </a:lnTo>
                  <a:cubicBezTo>
                    <a:pt x="2337" y="3578"/>
                    <a:pt x="2332" y="3575"/>
                    <a:pt x="2328" y="3570"/>
                  </a:cubicBezTo>
                  <a:cubicBezTo>
                    <a:pt x="2311" y="3549"/>
                    <a:pt x="2312" y="3536"/>
                    <a:pt x="2334" y="3530"/>
                  </a:cubicBezTo>
                  <a:cubicBezTo>
                    <a:pt x="2337" y="3528"/>
                    <a:pt x="2339" y="3527"/>
                    <a:pt x="2341" y="3527"/>
                  </a:cubicBezTo>
                  <a:close/>
                  <a:moveTo>
                    <a:pt x="2341" y="394"/>
                  </a:moveTo>
                  <a:lnTo>
                    <a:pt x="2341" y="3144"/>
                  </a:lnTo>
                  <a:cubicBezTo>
                    <a:pt x="2336" y="3136"/>
                    <a:pt x="2330" y="3129"/>
                    <a:pt x="2321" y="3123"/>
                  </a:cubicBezTo>
                  <a:cubicBezTo>
                    <a:pt x="2260" y="3087"/>
                    <a:pt x="2193" y="3044"/>
                    <a:pt x="2108" y="3093"/>
                  </a:cubicBezTo>
                  <a:cubicBezTo>
                    <a:pt x="2023" y="3141"/>
                    <a:pt x="1926" y="3232"/>
                    <a:pt x="1895" y="3238"/>
                  </a:cubicBezTo>
                  <a:cubicBezTo>
                    <a:pt x="1891" y="3239"/>
                    <a:pt x="1887" y="3242"/>
                    <a:pt x="1884" y="3247"/>
                  </a:cubicBezTo>
                  <a:lnTo>
                    <a:pt x="1884" y="688"/>
                  </a:lnTo>
                  <a:cubicBezTo>
                    <a:pt x="1900" y="705"/>
                    <a:pt x="1908" y="729"/>
                    <a:pt x="1915" y="747"/>
                  </a:cubicBezTo>
                  <a:cubicBezTo>
                    <a:pt x="1928" y="783"/>
                    <a:pt x="2005" y="852"/>
                    <a:pt x="2035" y="899"/>
                  </a:cubicBezTo>
                  <a:cubicBezTo>
                    <a:pt x="2064" y="946"/>
                    <a:pt x="2086" y="960"/>
                    <a:pt x="2086" y="917"/>
                  </a:cubicBezTo>
                  <a:cubicBezTo>
                    <a:pt x="2086" y="874"/>
                    <a:pt x="2048" y="818"/>
                    <a:pt x="2022" y="800"/>
                  </a:cubicBezTo>
                  <a:cubicBezTo>
                    <a:pt x="1997" y="782"/>
                    <a:pt x="2030" y="681"/>
                    <a:pt x="1972" y="657"/>
                  </a:cubicBezTo>
                  <a:cubicBezTo>
                    <a:pt x="1915" y="633"/>
                    <a:pt x="1877" y="561"/>
                    <a:pt x="1949" y="552"/>
                  </a:cubicBezTo>
                  <a:cubicBezTo>
                    <a:pt x="2022" y="543"/>
                    <a:pt x="2037" y="536"/>
                    <a:pt x="2072" y="501"/>
                  </a:cubicBezTo>
                  <a:cubicBezTo>
                    <a:pt x="2107" y="466"/>
                    <a:pt x="2220" y="423"/>
                    <a:pt x="2316" y="399"/>
                  </a:cubicBezTo>
                  <a:cubicBezTo>
                    <a:pt x="2325" y="397"/>
                    <a:pt x="2334" y="395"/>
                    <a:pt x="2341" y="394"/>
                  </a:cubicBezTo>
                  <a:close/>
                  <a:moveTo>
                    <a:pt x="2341" y="29"/>
                  </a:moveTo>
                  <a:lnTo>
                    <a:pt x="2341" y="124"/>
                  </a:lnTo>
                  <a:cubicBezTo>
                    <a:pt x="2304" y="102"/>
                    <a:pt x="2303" y="32"/>
                    <a:pt x="2341" y="29"/>
                  </a:cubicBezTo>
                  <a:close/>
                  <a:moveTo>
                    <a:pt x="2341" y="124"/>
                  </a:moveTo>
                  <a:lnTo>
                    <a:pt x="2341" y="29"/>
                  </a:lnTo>
                  <a:cubicBezTo>
                    <a:pt x="2343" y="29"/>
                    <a:pt x="2346" y="29"/>
                    <a:pt x="2348" y="29"/>
                  </a:cubicBezTo>
                  <a:cubicBezTo>
                    <a:pt x="2390" y="0"/>
                    <a:pt x="2551" y="6"/>
                    <a:pt x="2494" y="17"/>
                  </a:cubicBezTo>
                  <a:cubicBezTo>
                    <a:pt x="2438" y="29"/>
                    <a:pt x="2429" y="131"/>
                    <a:pt x="2366" y="131"/>
                  </a:cubicBezTo>
                  <a:cubicBezTo>
                    <a:pt x="2356" y="131"/>
                    <a:pt x="2348" y="128"/>
                    <a:pt x="2341" y="124"/>
                  </a:cubicBezTo>
                  <a:moveTo>
                    <a:pt x="2341" y="3578"/>
                  </a:moveTo>
                  <a:cubicBezTo>
                    <a:pt x="2353" y="3578"/>
                    <a:pt x="2362" y="3562"/>
                    <a:pt x="2365" y="3548"/>
                  </a:cubicBezTo>
                  <a:cubicBezTo>
                    <a:pt x="2369" y="3531"/>
                    <a:pt x="2357" y="3522"/>
                    <a:pt x="2341" y="3527"/>
                  </a:cubicBezTo>
                  <a:lnTo>
                    <a:pt x="2341" y="3578"/>
                  </a:lnTo>
                  <a:close/>
                  <a:moveTo>
                    <a:pt x="2607" y="3779"/>
                  </a:moveTo>
                  <a:lnTo>
                    <a:pt x="2607" y="3996"/>
                  </a:lnTo>
                  <a:cubicBezTo>
                    <a:pt x="2591" y="3983"/>
                    <a:pt x="2575" y="3969"/>
                    <a:pt x="2564" y="3955"/>
                  </a:cubicBezTo>
                  <a:cubicBezTo>
                    <a:pt x="2504" y="3885"/>
                    <a:pt x="2399" y="3741"/>
                    <a:pt x="2490" y="3734"/>
                  </a:cubicBezTo>
                  <a:cubicBezTo>
                    <a:pt x="2526" y="3730"/>
                    <a:pt x="2568" y="3749"/>
                    <a:pt x="2607" y="3779"/>
                  </a:cubicBezTo>
                  <a:close/>
                  <a:moveTo>
                    <a:pt x="2607" y="372"/>
                  </a:moveTo>
                  <a:lnTo>
                    <a:pt x="2607" y="3421"/>
                  </a:lnTo>
                  <a:cubicBezTo>
                    <a:pt x="2565" y="3383"/>
                    <a:pt x="2521" y="3359"/>
                    <a:pt x="2521" y="3396"/>
                  </a:cubicBezTo>
                  <a:cubicBezTo>
                    <a:pt x="2521" y="3445"/>
                    <a:pt x="2521" y="3536"/>
                    <a:pt x="2564" y="3554"/>
                  </a:cubicBezTo>
                  <a:cubicBezTo>
                    <a:pt x="2576" y="3560"/>
                    <a:pt x="2591" y="3571"/>
                    <a:pt x="2607" y="3587"/>
                  </a:cubicBezTo>
                  <a:lnTo>
                    <a:pt x="2607" y="3725"/>
                  </a:lnTo>
                  <a:cubicBezTo>
                    <a:pt x="2601" y="3720"/>
                    <a:pt x="2594" y="3715"/>
                    <a:pt x="2588" y="3712"/>
                  </a:cubicBezTo>
                  <a:cubicBezTo>
                    <a:pt x="2539" y="3688"/>
                    <a:pt x="2558" y="3585"/>
                    <a:pt x="2509" y="3554"/>
                  </a:cubicBezTo>
                  <a:cubicBezTo>
                    <a:pt x="2460" y="3524"/>
                    <a:pt x="2436" y="3494"/>
                    <a:pt x="2479" y="3409"/>
                  </a:cubicBezTo>
                  <a:cubicBezTo>
                    <a:pt x="2521" y="3324"/>
                    <a:pt x="2472" y="3269"/>
                    <a:pt x="2400" y="3269"/>
                  </a:cubicBezTo>
                  <a:cubicBezTo>
                    <a:pt x="2338" y="3269"/>
                    <a:pt x="2368" y="3190"/>
                    <a:pt x="2341" y="3144"/>
                  </a:cubicBezTo>
                  <a:lnTo>
                    <a:pt x="2341" y="394"/>
                  </a:lnTo>
                  <a:cubicBezTo>
                    <a:pt x="2416" y="383"/>
                    <a:pt x="2430" y="421"/>
                    <a:pt x="2467" y="402"/>
                  </a:cubicBezTo>
                  <a:cubicBezTo>
                    <a:pt x="2507" y="380"/>
                    <a:pt x="2583" y="431"/>
                    <a:pt x="2604" y="380"/>
                  </a:cubicBezTo>
                  <a:cubicBezTo>
                    <a:pt x="2605" y="378"/>
                    <a:pt x="2606" y="375"/>
                    <a:pt x="2607" y="372"/>
                  </a:cubicBezTo>
                  <a:close/>
                  <a:moveTo>
                    <a:pt x="2607" y="3725"/>
                  </a:moveTo>
                  <a:cubicBezTo>
                    <a:pt x="2650" y="3760"/>
                    <a:pt x="2691" y="3829"/>
                    <a:pt x="2691" y="3755"/>
                  </a:cubicBezTo>
                  <a:cubicBezTo>
                    <a:pt x="2691" y="3694"/>
                    <a:pt x="2647" y="3627"/>
                    <a:pt x="2607" y="3587"/>
                  </a:cubicBezTo>
                  <a:lnTo>
                    <a:pt x="2607" y="3725"/>
                  </a:lnTo>
                  <a:close/>
                  <a:moveTo>
                    <a:pt x="2607" y="3996"/>
                  </a:moveTo>
                  <a:lnTo>
                    <a:pt x="2607" y="3779"/>
                  </a:lnTo>
                  <a:cubicBezTo>
                    <a:pt x="2686" y="3839"/>
                    <a:pt x="2757" y="3944"/>
                    <a:pt x="2760" y="4007"/>
                  </a:cubicBezTo>
                  <a:cubicBezTo>
                    <a:pt x="2763" y="4083"/>
                    <a:pt x="2673" y="4049"/>
                    <a:pt x="2607" y="3996"/>
                  </a:cubicBezTo>
                  <a:close/>
                  <a:moveTo>
                    <a:pt x="2906" y="4054"/>
                  </a:moveTo>
                  <a:lnTo>
                    <a:pt x="2906" y="4102"/>
                  </a:lnTo>
                  <a:cubicBezTo>
                    <a:pt x="2821" y="4099"/>
                    <a:pt x="2791" y="4049"/>
                    <a:pt x="2886" y="4053"/>
                  </a:cubicBezTo>
                  <a:cubicBezTo>
                    <a:pt x="2893" y="4053"/>
                    <a:pt x="2899" y="4053"/>
                    <a:pt x="2906" y="4054"/>
                  </a:cubicBezTo>
                  <a:close/>
                  <a:moveTo>
                    <a:pt x="2906" y="3775"/>
                  </a:moveTo>
                  <a:lnTo>
                    <a:pt x="2906" y="3876"/>
                  </a:lnTo>
                  <a:cubicBezTo>
                    <a:pt x="2890" y="3847"/>
                    <a:pt x="2869" y="3812"/>
                    <a:pt x="2906" y="3775"/>
                  </a:cubicBezTo>
                  <a:close/>
                  <a:moveTo>
                    <a:pt x="2906" y="3081"/>
                  </a:moveTo>
                  <a:cubicBezTo>
                    <a:pt x="2905" y="3081"/>
                    <a:pt x="2904" y="3081"/>
                    <a:pt x="2903" y="3081"/>
                  </a:cubicBezTo>
                  <a:cubicBezTo>
                    <a:pt x="2868" y="3086"/>
                    <a:pt x="2875" y="3134"/>
                    <a:pt x="2906" y="3148"/>
                  </a:cubicBezTo>
                  <a:lnTo>
                    <a:pt x="2906" y="3081"/>
                  </a:lnTo>
                  <a:close/>
                  <a:moveTo>
                    <a:pt x="2906" y="358"/>
                  </a:moveTo>
                  <a:lnTo>
                    <a:pt x="2906" y="469"/>
                  </a:lnTo>
                  <a:cubicBezTo>
                    <a:pt x="2828" y="488"/>
                    <a:pt x="2751" y="536"/>
                    <a:pt x="2715" y="596"/>
                  </a:cubicBezTo>
                  <a:cubicBezTo>
                    <a:pt x="2679" y="656"/>
                    <a:pt x="2752" y="675"/>
                    <a:pt x="2801" y="626"/>
                  </a:cubicBezTo>
                  <a:cubicBezTo>
                    <a:pt x="2834" y="593"/>
                    <a:pt x="2855" y="560"/>
                    <a:pt x="2906" y="550"/>
                  </a:cubicBezTo>
                  <a:lnTo>
                    <a:pt x="2906" y="3034"/>
                  </a:lnTo>
                  <a:cubicBezTo>
                    <a:pt x="2827" y="3045"/>
                    <a:pt x="2740" y="3092"/>
                    <a:pt x="2782" y="3166"/>
                  </a:cubicBezTo>
                  <a:cubicBezTo>
                    <a:pt x="2831" y="3251"/>
                    <a:pt x="2867" y="3311"/>
                    <a:pt x="2873" y="3348"/>
                  </a:cubicBezTo>
                  <a:cubicBezTo>
                    <a:pt x="2880" y="3384"/>
                    <a:pt x="2813" y="3415"/>
                    <a:pt x="2776" y="3481"/>
                  </a:cubicBezTo>
                  <a:cubicBezTo>
                    <a:pt x="2740" y="3548"/>
                    <a:pt x="2691" y="3512"/>
                    <a:pt x="2643" y="3457"/>
                  </a:cubicBezTo>
                  <a:cubicBezTo>
                    <a:pt x="2632" y="3445"/>
                    <a:pt x="2619" y="3432"/>
                    <a:pt x="2607" y="3421"/>
                  </a:cubicBezTo>
                  <a:lnTo>
                    <a:pt x="2607" y="372"/>
                  </a:lnTo>
                  <a:cubicBezTo>
                    <a:pt x="2624" y="321"/>
                    <a:pt x="2611" y="251"/>
                    <a:pt x="2685" y="243"/>
                  </a:cubicBezTo>
                  <a:cubicBezTo>
                    <a:pt x="2794" y="243"/>
                    <a:pt x="2679" y="347"/>
                    <a:pt x="2752" y="340"/>
                  </a:cubicBezTo>
                  <a:cubicBezTo>
                    <a:pt x="2803" y="336"/>
                    <a:pt x="2853" y="350"/>
                    <a:pt x="2906" y="358"/>
                  </a:cubicBezTo>
                  <a:close/>
                  <a:moveTo>
                    <a:pt x="2906" y="469"/>
                  </a:moveTo>
                  <a:lnTo>
                    <a:pt x="2906" y="358"/>
                  </a:lnTo>
                  <a:cubicBezTo>
                    <a:pt x="2929" y="362"/>
                    <a:pt x="2953" y="365"/>
                    <a:pt x="2977" y="365"/>
                  </a:cubicBezTo>
                  <a:cubicBezTo>
                    <a:pt x="3056" y="365"/>
                    <a:pt x="2989" y="450"/>
                    <a:pt x="2910" y="468"/>
                  </a:cubicBezTo>
                  <a:lnTo>
                    <a:pt x="2906" y="469"/>
                  </a:lnTo>
                  <a:close/>
                  <a:moveTo>
                    <a:pt x="2906" y="3148"/>
                  </a:moveTo>
                  <a:lnTo>
                    <a:pt x="2906" y="3081"/>
                  </a:lnTo>
                  <a:cubicBezTo>
                    <a:pt x="2935" y="3086"/>
                    <a:pt x="2944" y="3160"/>
                    <a:pt x="2911" y="3150"/>
                  </a:cubicBezTo>
                  <a:cubicBezTo>
                    <a:pt x="2909" y="3149"/>
                    <a:pt x="2907" y="3148"/>
                    <a:pt x="2906" y="3148"/>
                  </a:cubicBezTo>
                  <a:close/>
                  <a:moveTo>
                    <a:pt x="2906" y="3876"/>
                  </a:moveTo>
                  <a:lnTo>
                    <a:pt x="2906" y="3775"/>
                  </a:lnTo>
                  <a:cubicBezTo>
                    <a:pt x="2915" y="3766"/>
                    <a:pt x="2928" y="3757"/>
                    <a:pt x="2945" y="3748"/>
                  </a:cubicBezTo>
                  <a:cubicBezTo>
                    <a:pt x="3040" y="3698"/>
                    <a:pt x="3072" y="3600"/>
                    <a:pt x="3132" y="3600"/>
                  </a:cubicBezTo>
                  <a:cubicBezTo>
                    <a:pt x="3169" y="3598"/>
                    <a:pt x="3172" y="3653"/>
                    <a:pt x="3161" y="3719"/>
                  </a:cubicBezTo>
                  <a:cubicBezTo>
                    <a:pt x="3151" y="3785"/>
                    <a:pt x="3050" y="3956"/>
                    <a:pt x="3016" y="3954"/>
                  </a:cubicBezTo>
                  <a:cubicBezTo>
                    <a:pt x="2982" y="3951"/>
                    <a:pt x="2929" y="3922"/>
                    <a:pt x="2911" y="3885"/>
                  </a:cubicBezTo>
                  <a:cubicBezTo>
                    <a:pt x="2909" y="3882"/>
                    <a:pt x="2907" y="3879"/>
                    <a:pt x="2906" y="3876"/>
                  </a:cubicBezTo>
                  <a:moveTo>
                    <a:pt x="2906" y="4102"/>
                  </a:moveTo>
                  <a:lnTo>
                    <a:pt x="2906" y="4054"/>
                  </a:lnTo>
                  <a:cubicBezTo>
                    <a:pt x="2969" y="4061"/>
                    <a:pt x="2997" y="4102"/>
                    <a:pt x="2914" y="4102"/>
                  </a:cubicBezTo>
                  <a:cubicBezTo>
                    <a:pt x="2911" y="4102"/>
                    <a:pt x="2908" y="4102"/>
                    <a:pt x="2906" y="4102"/>
                  </a:cubicBezTo>
                  <a:close/>
                  <a:moveTo>
                    <a:pt x="3311" y="3888"/>
                  </a:moveTo>
                  <a:lnTo>
                    <a:pt x="3311" y="3944"/>
                  </a:lnTo>
                  <a:cubicBezTo>
                    <a:pt x="3266" y="3931"/>
                    <a:pt x="3228" y="3861"/>
                    <a:pt x="3267" y="3859"/>
                  </a:cubicBezTo>
                  <a:cubicBezTo>
                    <a:pt x="3277" y="3859"/>
                    <a:pt x="3295" y="3872"/>
                    <a:pt x="3311" y="3888"/>
                  </a:cubicBezTo>
                  <a:close/>
                  <a:moveTo>
                    <a:pt x="3311" y="3291"/>
                  </a:moveTo>
                  <a:lnTo>
                    <a:pt x="3311" y="3355"/>
                  </a:lnTo>
                  <a:cubicBezTo>
                    <a:pt x="3281" y="3352"/>
                    <a:pt x="3252" y="3289"/>
                    <a:pt x="3290" y="3287"/>
                  </a:cubicBezTo>
                  <a:cubicBezTo>
                    <a:pt x="3297" y="3287"/>
                    <a:pt x="3304" y="3288"/>
                    <a:pt x="3311" y="3291"/>
                  </a:cubicBezTo>
                  <a:close/>
                  <a:moveTo>
                    <a:pt x="3311" y="3131"/>
                  </a:moveTo>
                  <a:lnTo>
                    <a:pt x="3311" y="3210"/>
                  </a:lnTo>
                  <a:cubicBezTo>
                    <a:pt x="3307" y="3211"/>
                    <a:pt x="3301" y="3211"/>
                    <a:pt x="3296" y="3210"/>
                  </a:cubicBezTo>
                  <a:cubicBezTo>
                    <a:pt x="3230" y="3202"/>
                    <a:pt x="3219" y="3126"/>
                    <a:pt x="3288" y="3123"/>
                  </a:cubicBezTo>
                  <a:cubicBezTo>
                    <a:pt x="3296" y="3123"/>
                    <a:pt x="3304" y="3126"/>
                    <a:pt x="3311" y="3131"/>
                  </a:cubicBezTo>
                  <a:moveTo>
                    <a:pt x="3311" y="2931"/>
                  </a:moveTo>
                  <a:cubicBezTo>
                    <a:pt x="3310" y="2931"/>
                    <a:pt x="3310" y="2931"/>
                    <a:pt x="3309" y="2931"/>
                  </a:cubicBezTo>
                  <a:cubicBezTo>
                    <a:pt x="3262" y="2923"/>
                    <a:pt x="3274" y="3009"/>
                    <a:pt x="3311" y="3015"/>
                  </a:cubicBezTo>
                  <a:lnTo>
                    <a:pt x="3311" y="2931"/>
                  </a:lnTo>
                  <a:close/>
                  <a:moveTo>
                    <a:pt x="3311" y="599"/>
                  </a:moveTo>
                  <a:lnTo>
                    <a:pt x="3311" y="2284"/>
                  </a:lnTo>
                  <a:cubicBezTo>
                    <a:pt x="3298" y="2280"/>
                    <a:pt x="3282" y="2279"/>
                    <a:pt x="3262" y="2279"/>
                  </a:cubicBezTo>
                  <a:cubicBezTo>
                    <a:pt x="3165" y="2279"/>
                    <a:pt x="3147" y="2376"/>
                    <a:pt x="3208" y="2376"/>
                  </a:cubicBezTo>
                  <a:cubicBezTo>
                    <a:pt x="3268" y="2376"/>
                    <a:pt x="3183" y="2509"/>
                    <a:pt x="3232" y="2564"/>
                  </a:cubicBezTo>
                  <a:cubicBezTo>
                    <a:pt x="3281" y="2619"/>
                    <a:pt x="3335" y="2728"/>
                    <a:pt x="3287" y="2777"/>
                  </a:cubicBezTo>
                  <a:cubicBezTo>
                    <a:pt x="3238" y="2825"/>
                    <a:pt x="3226" y="2898"/>
                    <a:pt x="3177" y="2923"/>
                  </a:cubicBezTo>
                  <a:cubicBezTo>
                    <a:pt x="3129" y="2947"/>
                    <a:pt x="3025" y="3032"/>
                    <a:pt x="2940" y="3032"/>
                  </a:cubicBezTo>
                  <a:cubicBezTo>
                    <a:pt x="2929" y="3032"/>
                    <a:pt x="2918" y="3033"/>
                    <a:pt x="2906" y="3034"/>
                  </a:cubicBezTo>
                  <a:lnTo>
                    <a:pt x="2906" y="550"/>
                  </a:lnTo>
                  <a:cubicBezTo>
                    <a:pt x="2930" y="545"/>
                    <a:pt x="2960" y="545"/>
                    <a:pt x="3001" y="553"/>
                  </a:cubicBezTo>
                  <a:cubicBezTo>
                    <a:pt x="3126" y="577"/>
                    <a:pt x="3205" y="560"/>
                    <a:pt x="3311" y="599"/>
                  </a:cubicBezTo>
                  <a:moveTo>
                    <a:pt x="3311" y="3015"/>
                  </a:moveTo>
                  <a:lnTo>
                    <a:pt x="3311" y="2931"/>
                  </a:lnTo>
                  <a:cubicBezTo>
                    <a:pt x="3361" y="2933"/>
                    <a:pt x="3348" y="3020"/>
                    <a:pt x="3311" y="3015"/>
                  </a:cubicBezTo>
                  <a:close/>
                  <a:moveTo>
                    <a:pt x="3311" y="3210"/>
                  </a:moveTo>
                  <a:lnTo>
                    <a:pt x="3311" y="3131"/>
                  </a:lnTo>
                  <a:cubicBezTo>
                    <a:pt x="3338" y="3152"/>
                    <a:pt x="3348" y="3204"/>
                    <a:pt x="3311" y="3210"/>
                  </a:cubicBezTo>
                  <a:close/>
                  <a:moveTo>
                    <a:pt x="3311" y="3355"/>
                  </a:moveTo>
                  <a:lnTo>
                    <a:pt x="3311" y="3291"/>
                  </a:lnTo>
                  <a:cubicBezTo>
                    <a:pt x="3336" y="3302"/>
                    <a:pt x="3354" y="3329"/>
                    <a:pt x="3327" y="3350"/>
                  </a:cubicBezTo>
                  <a:cubicBezTo>
                    <a:pt x="3322" y="3354"/>
                    <a:pt x="3317" y="3355"/>
                    <a:pt x="3311" y="3355"/>
                  </a:cubicBezTo>
                  <a:close/>
                  <a:moveTo>
                    <a:pt x="3311" y="3944"/>
                  </a:moveTo>
                  <a:lnTo>
                    <a:pt x="3311" y="3888"/>
                  </a:lnTo>
                  <a:cubicBezTo>
                    <a:pt x="3336" y="3913"/>
                    <a:pt x="3355" y="3946"/>
                    <a:pt x="3325" y="3946"/>
                  </a:cubicBezTo>
                  <a:cubicBezTo>
                    <a:pt x="3320" y="3946"/>
                    <a:pt x="3316" y="3945"/>
                    <a:pt x="3311" y="3944"/>
                  </a:cubicBezTo>
                  <a:close/>
                  <a:moveTo>
                    <a:pt x="3410" y="3505"/>
                  </a:moveTo>
                  <a:lnTo>
                    <a:pt x="3410" y="3609"/>
                  </a:lnTo>
                  <a:cubicBezTo>
                    <a:pt x="3401" y="3609"/>
                    <a:pt x="3392" y="3604"/>
                    <a:pt x="3383" y="3593"/>
                  </a:cubicBezTo>
                  <a:cubicBezTo>
                    <a:pt x="3348" y="3550"/>
                    <a:pt x="3351" y="3524"/>
                    <a:pt x="3396" y="3511"/>
                  </a:cubicBezTo>
                  <a:cubicBezTo>
                    <a:pt x="3401" y="3508"/>
                    <a:pt x="3405" y="3506"/>
                    <a:pt x="3410" y="3505"/>
                  </a:cubicBezTo>
                  <a:close/>
                  <a:moveTo>
                    <a:pt x="3410" y="624"/>
                  </a:moveTo>
                  <a:lnTo>
                    <a:pt x="3410" y="2412"/>
                  </a:lnTo>
                  <a:cubicBezTo>
                    <a:pt x="3394" y="2399"/>
                    <a:pt x="3380" y="2387"/>
                    <a:pt x="3378" y="2370"/>
                  </a:cubicBezTo>
                  <a:cubicBezTo>
                    <a:pt x="3373" y="2336"/>
                    <a:pt x="3364" y="2298"/>
                    <a:pt x="3311" y="2284"/>
                  </a:cubicBezTo>
                  <a:lnTo>
                    <a:pt x="3311" y="599"/>
                  </a:lnTo>
                  <a:cubicBezTo>
                    <a:pt x="3313" y="600"/>
                    <a:pt x="3315" y="601"/>
                    <a:pt x="3317" y="602"/>
                  </a:cubicBezTo>
                  <a:cubicBezTo>
                    <a:pt x="3347" y="614"/>
                    <a:pt x="3379" y="620"/>
                    <a:pt x="3410" y="624"/>
                  </a:cubicBezTo>
                  <a:moveTo>
                    <a:pt x="3410" y="520"/>
                  </a:moveTo>
                  <a:lnTo>
                    <a:pt x="3410" y="599"/>
                  </a:lnTo>
                  <a:cubicBezTo>
                    <a:pt x="3407" y="597"/>
                    <a:pt x="3403" y="595"/>
                    <a:pt x="3400" y="593"/>
                  </a:cubicBezTo>
                  <a:cubicBezTo>
                    <a:pt x="3349" y="556"/>
                    <a:pt x="3330" y="517"/>
                    <a:pt x="3362" y="517"/>
                  </a:cubicBezTo>
                  <a:cubicBezTo>
                    <a:pt x="3376" y="510"/>
                    <a:pt x="3392" y="513"/>
                    <a:pt x="3410" y="520"/>
                  </a:cubicBezTo>
                  <a:close/>
                  <a:moveTo>
                    <a:pt x="3410" y="3609"/>
                  </a:moveTo>
                  <a:lnTo>
                    <a:pt x="3410" y="3505"/>
                  </a:lnTo>
                  <a:cubicBezTo>
                    <a:pt x="3442" y="3495"/>
                    <a:pt x="3466" y="3513"/>
                    <a:pt x="3459" y="3548"/>
                  </a:cubicBezTo>
                  <a:cubicBezTo>
                    <a:pt x="3453" y="3577"/>
                    <a:pt x="3433" y="3610"/>
                    <a:pt x="3410" y="3609"/>
                  </a:cubicBezTo>
                  <a:close/>
                  <a:moveTo>
                    <a:pt x="3476" y="634"/>
                  </a:moveTo>
                  <a:cubicBezTo>
                    <a:pt x="3455" y="631"/>
                    <a:pt x="3433" y="628"/>
                    <a:pt x="3410" y="624"/>
                  </a:cubicBezTo>
                  <a:lnTo>
                    <a:pt x="3410" y="2412"/>
                  </a:lnTo>
                  <a:cubicBezTo>
                    <a:pt x="3432" y="2429"/>
                    <a:pt x="3459" y="2447"/>
                    <a:pt x="3463" y="2479"/>
                  </a:cubicBezTo>
                  <a:cubicBezTo>
                    <a:pt x="3465" y="2496"/>
                    <a:pt x="3469" y="2512"/>
                    <a:pt x="3476" y="2527"/>
                  </a:cubicBezTo>
                  <a:lnTo>
                    <a:pt x="3476" y="634"/>
                  </a:lnTo>
                  <a:close/>
                  <a:moveTo>
                    <a:pt x="3476" y="556"/>
                  </a:moveTo>
                  <a:lnTo>
                    <a:pt x="3476" y="627"/>
                  </a:lnTo>
                  <a:cubicBezTo>
                    <a:pt x="3453" y="621"/>
                    <a:pt x="3431" y="613"/>
                    <a:pt x="3410" y="599"/>
                  </a:cubicBezTo>
                  <a:lnTo>
                    <a:pt x="3410" y="520"/>
                  </a:lnTo>
                  <a:cubicBezTo>
                    <a:pt x="3431" y="528"/>
                    <a:pt x="3454" y="543"/>
                    <a:pt x="3476" y="556"/>
                  </a:cubicBezTo>
                  <a:close/>
                  <a:moveTo>
                    <a:pt x="3525" y="2845"/>
                  </a:moveTo>
                  <a:lnTo>
                    <a:pt x="3525" y="2896"/>
                  </a:lnTo>
                  <a:cubicBezTo>
                    <a:pt x="3521" y="2895"/>
                    <a:pt x="3516" y="2893"/>
                    <a:pt x="3512" y="2888"/>
                  </a:cubicBezTo>
                  <a:cubicBezTo>
                    <a:pt x="3495" y="2867"/>
                    <a:pt x="3496" y="2854"/>
                    <a:pt x="3518" y="2848"/>
                  </a:cubicBezTo>
                  <a:cubicBezTo>
                    <a:pt x="3521" y="2846"/>
                    <a:pt x="3523" y="2845"/>
                    <a:pt x="3525" y="2845"/>
                  </a:cubicBezTo>
                  <a:close/>
                  <a:moveTo>
                    <a:pt x="3525" y="646"/>
                  </a:moveTo>
                  <a:cubicBezTo>
                    <a:pt x="3510" y="641"/>
                    <a:pt x="3493" y="637"/>
                    <a:pt x="3476" y="634"/>
                  </a:cubicBezTo>
                  <a:lnTo>
                    <a:pt x="3476" y="2527"/>
                  </a:lnTo>
                  <a:cubicBezTo>
                    <a:pt x="3486" y="2548"/>
                    <a:pt x="3502" y="2565"/>
                    <a:pt x="3525" y="2570"/>
                  </a:cubicBezTo>
                  <a:lnTo>
                    <a:pt x="3525" y="2388"/>
                  </a:lnTo>
                  <a:cubicBezTo>
                    <a:pt x="3494" y="2342"/>
                    <a:pt x="3452" y="2326"/>
                    <a:pt x="3511" y="2315"/>
                  </a:cubicBezTo>
                  <a:cubicBezTo>
                    <a:pt x="3516" y="2314"/>
                    <a:pt x="3521" y="2313"/>
                    <a:pt x="3525" y="2312"/>
                  </a:cubicBezTo>
                  <a:lnTo>
                    <a:pt x="3525" y="646"/>
                  </a:lnTo>
                  <a:close/>
                  <a:moveTo>
                    <a:pt x="3525" y="578"/>
                  </a:moveTo>
                  <a:lnTo>
                    <a:pt x="3525" y="635"/>
                  </a:lnTo>
                  <a:cubicBezTo>
                    <a:pt x="3508" y="633"/>
                    <a:pt x="3491" y="631"/>
                    <a:pt x="3476" y="627"/>
                  </a:cubicBezTo>
                  <a:lnTo>
                    <a:pt x="3476" y="556"/>
                  </a:lnTo>
                  <a:cubicBezTo>
                    <a:pt x="3493" y="566"/>
                    <a:pt x="3510" y="574"/>
                    <a:pt x="3525" y="578"/>
                  </a:cubicBezTo>
                  <a:moveTo>
                    <a:pt x="3525" y="635"/>
                  </a:moveTo>
                  <a:cubicBezTo>
                    <a:pt x="3539" y="637"/>
                    <a:pt x="3554" y="639"/>
                    <a:pt x="3570" y="641"/>
                  </a:cubicBezTo>
                  <a:cubicBezTo>
                    <a:pt x="3637" y="649"/>
                    <a:pt x="3597" y="575"/>
                    <a:pt x="3544" y="580"/>
                  </a:cubicBezTo>
                  <a:cubicBezTo>
                    <a:pt x="3538" y="580"/>
                    <a:pt x="3532" y="580"/>
                    <a:pt x="3525" y="578"/>
                  </a:cubicBezTo>
                  <a:lnTo>
                    <a:pt x="3525" y="635"/>
                  </a:lnTo>
                  <a:close/>
                  <a:moveTo>
                    <a:pt x="3525" y="2570"/>
                  </a:moveTo>
                  <a:lnTo>
                    <a:pt x="3525" y="2388"/>
                  </a:lnTo>
                  <a:cubicBezTo>
                    <a:pt x="3529" y="2394"/>
                    <a:pt x="3532" y="2400"/>
                    <a:pt x="3536" y="2406"/>
                  </a:cubicBezTo>
                  <a:cubicBezTo>
                    <a:pt x="3566" y="2467"/>
                    <a:pt x="3621" y="2558"/>
                    <a:pt x="3560" y="2570"/>
                  </a:cubicBezTo>
                  <a:cubicBezTo>
                    <a:pt x="3547" y="2573"/>
                    <a:pt x="3535" y="2573"/>
                    <a:pt x="3525" y="2570"/>
                  </a:cubicBezTo>
                  <a:close/>
                  <a:moveTo>
                    <a:pt x="3525" y="2896"/>
                  </a:moveTo>
                  <a:lnTo>
                    <a:pt x="3525" y="2845"/>
                  </a:lnTo>
                  <a:cubicBezTo>
                    <a:pt x="3541" y="2840"/>
                    <a:pt x="3553" y="2849"/>
                    <a:pt x="3549" y="2866"/>
                  </a:cubicBezTo>
                  <a:cubicBezTo>
                    <a:pt x="3546" y="2880"/>
                    <a:pt x="3537" y="2896"/>
                    <a:pt x="3525" y="2896"/>
                  </a:cubicBezTo>
                  <a:close/>
                  <a:moveTo>
                    <a:pt x="3641" y="2587"/>
                  </a:moveTo>
                  <a:lnTo>
                    <a:pt x="3641" y="2642"/>
                  </a:lnTo>
                  <a:cubicBezTo>
                    <a:pt x="3595" y="2616"/>
                    <a:pt x="3617" y="2576"/>
                    <a:pt x="3641" y="2587"/>
                  </a:cubicBezTo>
                  <a:close/>
                  <a:moveTo>
                    <a:pt x="3641" y="742"/>
                  </a:moveTo>
                  <a:lnTo>
                    <a:pt x="3641" y="2190"/>
                  </a:lnTo>
                  <a:cubicBezTo>
                    <a:pt x="3623" y="2191"/>
                    <a:pt x="3608" y="2197"/>
                    <a:pt x="3596" y="2218"/>
                  </a:cubicBezTo>
                  <a:cubicBezTo>
                    <a:pt x="3568" y="2268"/>
                    <a:pt x="3577" y="2298"/>
                    <a:pt x="3525" y="2312"/>
                  </a:cubicBezTo>
                  <a:lnTo>
                    <a:pt x="3525" y="646"/>
                  </a:lnTo>
                  <a:cubicBezTo>
                    <a:pt x="3555" y="657"/>
                    <a:pt x="3578" y="674"/>
                    <a:pt x="3590" y="705"/>
                  </a:cubicBezTo>
                  <a:cubicBezTo>
                    <a:pt x="3605" y="742"/>
                    <a:pt x="3621" y="748"/>
                    <a:pt x="3641" y="742"/>
                  </a:cubicBezTo>
                  <a:close/>
                  <a:moveTo>
                    <a:pt x="3641" y="2642"/>
                  </a:moveTo>
                  <a:lnTo>
                    <a:pt x="3641" y="2587"/>
                  </a:lnTo>
                  <a:cubicBezTo>
                    <a:pt x="3642" y="2587"/>
                    <a:pt x="3643" y="2588"/>
                    <a:pt x="3644" y="2588"/>
                  </a:cubicBezTo>
                  <a:cubicBezTo>
                    <a:pt x="3661" y="2594"/>
                    <a:pt x="3690" y="2670"/>
                    <a:pt x="3642" y="2643"/>
                  </a:cubicBezTo>
                  <a:lnTo>
                    <a:pt x="3641" y="2642"/>
                  </a:lnTo>
                  <a:close/>
                  <a:moveTo>
                    <a:pt x="3802" y="2478"/>
                  </a:moveTo>
                  <a:lnTo>
                    <a:pt x="3802" y="2555"/>
                  </a:lnTo>
                  <a:cubicBezTo>
                    <a:pt x="3768" y="2568"/>
                    <a:pt x="3761" y="2472"/>
                    <a:pt x="3794" y="2479"/>
                  </a:cubicBezTo>
                  <a:cubicBezTo>
                    <a:pt x="3797" y="2478"/>
                    <a:pt x="3799" y="2477"/>
                    <a:pt x="3802" y="2478"/>
                  </a:cubicBezTo>
                  <a:close/>
                  <a:moveTo>
                    <a:pt x="3802" y="699"/>
                  </a:moveTo>
                  <a:lnTo>
                    <a:pt x="3802" y="1604"/>
                  </a:lnTo>
                  <a:cubicBezTo>
                    <a:pt x="3775" y="1622"/>
                    <a:pt x="3778" y="1652"/>
                    <a:pt x="3802" y="1663"/>
                  </a:cubicBezTo>
                  <a:lnTo>
                    <a:pt x="3802" y="2146"/>
                  </a:lnTo>
                  <a:cubicBezTo>
                    <a:pt x="3790" y="2158"/>
                    <a:pt x="3776" y="2168"/>
                    <a:pt x="3760" y="2175"/>
                  </a:cubicBezTo>
                  <a:cubicBezTo>
                    <a:pt x="3711" y="2198"/>
                    <a:pt x="3672" y="2188"/>
                    <a:pt x="3641" y="2190"/>
                  </a:cubicBezTo>
                  <a:lnTo>
                    <a:pt x="3641" y="742"/>
                  </a:lnTo>
                  <a:cubicBezTo>
                    <a:pt x="3670" y="733"/>
                    <a:pt x="3707" y="699"/>
                    <a:pt x="3760" y="699"/>
                  </a:cubicBezTo>
                  <a:cubicBezTo>
                    <a:pt x="3776" y="699"/>
                    <a:pt x="3790" y="699"/>
                    <a:pt x="3802" y="699"/>
                  </a:cubicBezTo>
                  <a:close/>
                  <a:moveTo>
                    <a:pt x="3822" y="2487"/>
                  </a:moveTo>
                  <a:lnTo>
                    <a:pt x="3822" y="2538"/>
                  </a:lnTo>
                  <a:cubicBezTo>
                    <a:pt x="3819" y="2542"/>
                    <a:pt x="3816" y="2545"/>
                    <a:pt x="3812" y="2548"/>
                  </a:cubicBezTo>
                  <a:cubicBezTo>
                    <a:pt x="3809" y="2551"/>
                    <a:pt x="3805" y="2554"/>
                    <a:pt x="3802" y="2555"/>
                  </a:cubicBezTo>
                  <a:lnTo>
                    <a:pt x="3802" y="2478"/>
                  </a:lnTo>
                  <a:cubicBezTo>
                    <a:pt x="3809" y="2478"/>
                    <a:pt x="3816" y="2482"/>
                    <a:pt x="3822" y="2487"/>
                  </a:cubicBezTo>
                  <a:close/>
                  <a:moveTo>
                    <a:pt x="3822" y="2414"/>
                  </a:moveTo>
                  <a:lnTo>
                    <a:pt x="3822" y="2445"/>
                  </a:lnTo>
                  <a:cubicBezTo>
                    <a:pt x="3808" y="2443"/>
                    <a:pt x="3808" y="2428"/>
                    <a:pt x="3822" y="2414"/>
                  </a:cubicBezTo>
                  <a:close/>
                  <a:moveTo>
                    <a:pt x="3822" y="1666"/>
                  </a:moveTo>
                  <a:lnTo>
                    <a:pt x="3822" y="2124"/>
                  </a:lnTo>
                  <a:cubicBezTo>
                    <a:pt x="3816" y="2132"/>
                    <a:pt x="3809" y="2139"/>
                    <a:pt x="3802" y="2146"/>
                  </a:cubicBezTo>
                  <a:lnTo>
                    <a:pt x="3802" y="1663"/>
                  </a:lnTo>
                  <a:cubicBezTo>
                    <a:pt x="3808" y="1665"/>
                    <a:pt x="3814" y="1666"/>
                    <a:pt x="3822" y="1666"/>
                  </a:cubicBezTo>
                  <a:moveTo>
                    <a:pt x="3822" y="699"/>
                  </a:moveTo>
                  <a:lnTo>
                    <a:pt x="3822" y="1595"/>
                  </a:lnTo>
                  <a:cubicBezTo>
                    <a:pt x="3814" y="1597"/>
                    <a:pt x="3807" y="1600"/>
                    <a:pt x="3802" y="1604"/>
                  </a:cubicBezTo>
                  <a:lnTo>
                    <a:pt x="3802" y="699"/>
                  </a:lnTo>
                  <a:cubicBezTo>
                    <a:pt x="3809" y="699"/>
                    <a:pt x="3816" y="699"/>
                    <a:pt x="3822" y="699"/>
                  </a:cubicBezTo>
                  <a:close/>
                  <a:moveTo>
                    <a:pt x="3822" y="2538"/>
                  </a:moveTo>
                  <a:lnTo>
                    <a:pt x="3822" y="2487"/>
                  </a:lnTo>
                  <a:cubicBezTo>
                    <a:pt x="3833" y="2499"/>
                    <a:pt x="3837" y="2518"/>
                    <a:pt x="3822" y="2538"/>
                  </a:cubicBezTo>
                  <a:close/>
                  <a:moveTo>
                    <a:pt x="3874" y="2467"/>
                  </a:moveTo>
                  <a:lnTo>
                    <a:pt x="3874" y="2508"/>
                  </a:lnTo>
                  <a:lnTo>
                    <a:pt x="3873" y="2509"/>
                  </a:lnTo>
                  <a:cubicBezTo>
                    <a:pt x="3857" y="2527"/>
                    <a:pt x="3851" y="2471"/>
                    <a:pt x="3874" y="2467"/>
                  </a:cubicBezTo>
                  <a:close/>
                  <a:moveTo>
                    <a:pt x="3874" y="2396"/>
                  </a:moveTo>
                  <a:lnTo>
                    <a:pt x="3874" y="2440"/>
                  </a:lnTo>
                  <a:cubicBezTo>
                    <a:pt x="3866" y="2437"/>
                    <a:pt x="3856" y="2437"/>
                    <a:pt x="3842" y="2442"/>
                  </a:cubicBezTo>
                  <a:cubicBezTo>
                    <a:pt x="3833" y="2445"/>
                    <a:pt x="3827" y="2446"/>
                    <a:pt x="3822" y="2445"/>
                  </a:cubicBezTo>
                  <a:lnTo>
                    <a:pt x="3822" y="2414"/>
                  </a:lnTo>
                  <a:cubicBezTo>
                    <a:pt x="3826" y="2410"/>
                    <a:pt x="3831" y="2407"/>
                    <a:pt x="3837" y="2403"/>
                  </a:cubicBezTo>
                  <a:cubicBezTo>
                    <a:pt x="3850" y="2397"/>
                    <a:pt x="3863" y="2396"/>
                    <a:pt x="3874" y="2396"/>
                  </a:cubicBezTo>
                  <a:close/>
                  <a:moveTo>
                    <a:pt x="3874" y="1662"/>
                  </a:moveTo>
                  <a:lnTo>
                    <a:pt x="3874" y="2032"/>
                  </a:lnTo>
                  <a:cubicBezTo>
                    <a:pt x="3860" y="2063"/>
                    <a:pt x="3843" y="2096"/>
                    <a:pt x="3822" y="2124"/>
                  </a:cubicBezTo>
                  <a:lnTo>
                    <a:pt x="3822" y="1666"/>
                  </a:lnTo>
                  <a:cubicBezTo>
                    <a:pt x="3825" y="1666"/>
                    <a:pt x="3829" y="1666"/>
                    <a:pt x="3833" y="1665"/>
                  </a:cubicBezTo>
                  <a:cubicBezTo>
                    <a:pt x="3848" y="1662"/>
                    <a:pt x="3862" y="1661"/>
                    <a:pt x="3874" y="1662"/>
                  </a:cubicBezTo>
                  <a:close/>
                  <a:moveTo>
                    <a:pt x="3874" y="695"/>
                  </a:moveTo>
                  <a:lnTo>
                    <a:pt x="3874" y="1577"/>
                  </a:lnTo>
                  <a:cubicBezTo>
                    <a:pt x="3862" y="1584"/>
                    <a:pt x="3848" y="1590"/>
                    <a:pt x="3833" y="1592"/>
                  </a:cubicBezTo>
                  <a:cubicBezTo>
                    <a:pt x="3829" y="1593"/>
                    <a:pt x="3825" y="1594"/>
                    <a:pt x="3822" y="1595"/>
                  </a:cubicBezTo>
                  <a:lnTo>
                    <a:pt x="3822" y="699"/>
                  </a:lnTo>
                  <a:cubicBezTo>
                    <a:pt x="3842" y="699"/>
                    <a:pt x="3859" y="698"/>
                    <a:pt x="3874" y="695"/>
                  </a:cubicBezTo>
                  <a:close/>
                  <a:moveTo>
                    <a:pt x="3874" y="354"/>
                  </a:moveTo>
                  <a:lnTo>
                    <a:pt x="3874" y="396"/>
                  </a:lnTo>
                  <a:cubicBezTo>
                    <a:pt x="3865" y="381"/>
                    <a:pt x="3862" y="365"/>
                    <a:pt x="3874" y="354"/>
                  </a:cubicBezTo>
                  <a:close/>
                  <a:moveTo>
                    <a:pt x="3874" y="2032"/>
                  </a:moveTo>
                  <a:lnTo>
                    <a:pt x="3874" y="1662"/>
                  </a:lnTo>
                  <a:cubicBezTo>
                    <a:pt x="3916" y="1665"/>
                    <a:pt x="3947" y="1690"/>
                    <a:pt x="3961" y="1750"/>
                  </a:cubicBezTo>
                  <a:cubicBezTo>
                    <a:pt x="3979" y="1829"/>
                    <a:pt x="3943" y="1908"/>
                    <a:pt x="3906" y="1969"/>
                  </a:cubicBezTo>
                  <a:cubicBezTo>
                    <a:pt x="3896" y="1986"/>
                    <a:pt x="3885" y="2008"/>
                    <a:pt x="3874" y="2032"/>
                  </a:cubicBezTo>
                  <a:close/>
                  <a:moveTo>
                    <a:pt x="3874" y="2508"/>
                  </a:moveTo>
                  <a:cubicBezTo>
                    <a:pt x="3892" y="2489"/>
                    <a:pt x="3895" y="2485"/>
                    <a:pt x="3883" y="2468"/>
                  </a:cubicBezTo>
                  <a:cubicBezTo>
                    <a:pt x="3880" y="2467"/>
                    <a:pt x="3877" y="2467"/>
                    <a:pt x="3874" y="2467"/>
                  </a:cubicBezTo>
                  <a:lnTo>
                    <a:pt x="3874" y="2508"/>
                  </a:lnTo>
                  <a:close/>
                  <a:moveTo>
                    <a:pt x="4047" y="2306"/>
                  </a:moveTo>
                  <a:lnTo>
                    <a:pt x="4047" y="2317"/>
                  </a:lnTo>
                  <a:cubicBezTo>
                    <a:pt x="4047" y="2320"/>
                    <a:pt x="4045" y="2323"/>
                    <a:pt x="4044" y="2325"/>
                  </a:cubicBezTo>
                  <a:cubicBezTo>
                    <a:pt x="4030" y="2341"/>
                    <a:pt x="4026" y="2368"/>
                    <a:pt x="4023" y="2394"/>
                  </a:cubicBezTo>
                  <a:cubicBezTo>
                    <a:pt x="4020" y="2420"/>
                    <a:pt x="4003" y="2451"/>
                    <a:pt x="3982" y="2456"/>
                  </a:cubicBezTo>
                  <a:cubicBezTo>
                    <a:pt x="3960" y="2461"/>
                    <a:pt x="3941" y="2463"/>
                    <a:pt x="3935" y="2479"/>
                  </a:cubicBezTo>
                  <a:cubicBezTo>
                    <a:pt x="3929" y="2496"/>
                    <a:pt x="3913" y="2494"/>
                    <a:pt x="3903" y="2474"/>
                  </a:cubicBezTo>
                  <a:cubicBezTo>
                    <a:pt x="3896" y="2460"/>
                    <a:pt x="3889" y="2445"/>
                    <a:pt x="3874" y="2440"/>
                  </a:cubicBezTo>
                  <a:lnTo>
                    <a:pt x="3874" y="2396"/>
                  </a:lnTo>
                  <a:cubicBezTo>
                    <a:pt x="3895" y="2396"/>
                    <a:pt x="3914" y="2399"/>
                    <a:pt x="3927" y="2376"/>
                  </a:cubicBezTo>
                  <a:cubicBezTo>
                    <a:pt x="3947" y="2340"/>
                    <a:pt x="3972" y="2356"/>
                    <a:pt x="3981" y="2324"/>
                  </a:cubicBezTo>
                  <a:cubicBezTo>
                    <a:pt x="3990" y="2292"/>
                    <a:pt x="3989" y="2249"/>
                    <a:pt x="4015" y="2256"/>
                  </a:cubicBezTo>
                  <a:cubicBezTo>
                    <a:pt x="4028" y="2259"/>
                    <a:pt x="4044" y="2285"/>
                    <a:pt x="4047" y="2306"/>
                  </a:cubicBezTo>
                  <a:close/>
                  <a:moveTo>
                    <a:pt x="4047" y="2021"/>
                  </a:moveTo>
                  <a:cubicBezTo>
                    <a:pt x="4033" y="2008"/>
                    <a:pt x="4017" y="1999"/>
                    <a:pt x="4006" y="2000"/>
                  </a:cubicBezTo>
                  <a:cubicBezTo>
                    <a:pt x="3972" y="2003"/>
                    <a:pt x="4015" y="2051"/>
                    <a:pt x="4047" y="2071"/>
                  </a:cubicBezTo>
                  <a:lnTo>
                    <a:pt x="4047" y="2021"/>
                  </a:lnTo>
                  <a:close/>
                  <a:moveTo>
                    <a:pt x="4047" y="1845"/>
                  </a:moveTo>
                  <a:lnTo>
                    <a:pt x="4047" y="1951"/>
                  </a:lnTo>
                  <a:cubicBezTo>
                    <a:pt x="4010" y="1921"/>
                    <a:pt x="4011" y="1834"/>
                    <a:pt x="4042" y="1845"/>
                  </a:cubicBezTo>
                  <a:cubicBezTo>
                    <a:pt x="4044" y="1845"/>
                    <a:pt x="4045" y="1845"/>
                    <a:pt x="4047" y="1845"/>
                  </a:cubicBezTo>
                  <a:close/>
                  <a:moveTo>
                    <a:pt x="4047" y="1686"/>
                  </a:moveTo>
                  <a:lnTo>
                    <a:pt x="4047" y="1723"/>
                  </a:lnTo>
                  <a:cubicBezTo>
                    <a:pt x="4017" y="1714"/>
                    <a:pt x="3995" y="1676"/>
                    <a:pt x="4040" y="1686"/>
                  </a:cubicBezTo>
                  <a:cubicBezTo>
                    <a:pt x="4042" y="1686"/>
                    <a:pt x="4045" y="1686"/>
                    <a:pt x="4047" y="1686"/>
                  </a:cubicBezTo>
                  <a:close/>
                  <a:moveTo>
                    <a:pt x="4047" y="624"/>
                  </a:moveTo>
                  <a:lnTo>
                    <a:pt x="4047" y="1399"/>
                  </a:lnTo>
                  <a:cubicBezTo>
                    <a:pt x="4017" y="1398"/>
                    <a:pt x="3992" y="1405"/>
                    <a:pt x="3979" y="1434"/>
                  </a:cubicBezTo>
                  <a:cubicBezTo>
                    <a:pt x="3955" y="1487"/>
                    <a:pt x="3923" y="1548"/>
                    <a:pt x="3874" y="1577"/>
                  </a:cubicBezTo>
                  <a:lnTo>
                    <a:pt x="3874" y="695"/>
                  </a:lnTo>
                  <a:cubicBezTo>
                    <a:pt x="3894" y="691"/>
                    <a:pt x="3912" y="683"/>
                    <a:pt x="3937" y="669"/>
                  </a:cubicBezTo>
                  <a:cubicBezTo>
                    <a:pt x="3963" y="653"/>
                    <a:pt x="4007" y="635"/>
                    <a:pt x="4047" y="624"/>
                  </a:cubicBezTo>
                  <a:close/>
                  <a:moveTo>
                    <a:pt x="4047" y="531"/>
                  </a:moveTo>
                  <a:lnTo>
                    <a:pt x="4047" y="569"/>
                  </a:lnTo>
                  <a:cubicBezTo>
                    <a:pt x="4040" y="574"/>
                    <a:pt x="4030" y="577"/>
                    <a:pt x="4015" y="578"/>
                  </a:cubicBezTo>
                  <a:cubicBezTo>
                    <a:pt x="3946" y="581"/>
                    <a:pt x="3937" y="524"/>
                    <a:pt x="4000" y="518"/>
                  </a:cubicBezTo>
                  <a:cubicBezTo>
                    <a:pt x="4021" y="516"/>
                    <a:pt x="4037" y="522"/>
                    <a:pt x="4047" y="531"/>
                  </a:cubicBezTo>
                  <a:close/>
                  <a:moveTo>
                    <a:pt x="4047" y="339"/>
                  </a:moveTo>
                  <a:lnTo>
                    <a:pt x="4047" y="410"/>
                  </a:lnTo>
                  <a:cubicBezTo>
                    <a:pt x="4018" y="426"/>
                    <a:pt x="3969" y="428"/>
                    <a:pt x="3937" y="432"/>
                  </a:cubicBezTo>
                  <a:cubicBezTo>
                    <a:pt x="3915" y="434"/>
                    <a:pt x="3888" y="417"/>
                    <a:pt x="3874" y="396"/>
                  </a:cubicBezTo>
                  <a:lnTo>
                    <a:pt x="3874" y="354"/>
                  </a:lnTo>
                  <a:cubicBezTo>
                    <a:pt x="3883" y="345"/>
                    <a:pt x="3900" y="339"/>
                    <a:pt x="3928" y="339"/>
                  </a:cubicBezTo>
                  <a:cubicBezTo>
                    <a:pt x="3973" y="335"/>
                    <a:pt x="4020" y="329"/>
                    <a:pt x="4047" y="339"/>
                  </a:cubicBezTo>
                  <a:close/>
                  <a:moveTo>
                    <a:pt x="4026" y="2078"/>
                  </a:moveTo>
                  <a:cubicBezTo>
                    <a:pt x="4035" y="2081"/>
                    <a:pt x="4042" y="2086"/>
                    <a:pt x="4047" y="2091"/>
                  </a:cubicBezTo>
                  <a:lnTo>
                    <a:pt x="4047" y="2213"/>
                  </a:lnTo>
                  <a:cubicBezTo>
                    <a:pt x="4031" y="2199"/>
                    <a:pt x="4002" y="2169"/>
                    <a:pt x="4016" y="2200"/>
                  </a:cubicBezTo>
                  <a:cubicBezTo>
                    <a:pt x="4032" y="2235"/>
                    <a:pt x="4029" y="2245"/>
                    <a:pt x="4013" y="2243"/>
                  </a:cubicBezTo>
                  <a:cubicBezTo>
                    <a:pt x="3996" y="2242"/>
                    <a:pt x="3977" y="2205"/>
                    <a:pt x="3973" y="2180"/>
                  </a:cubicBezTo>
                  <a:cubicBezTo>
                    <a:pt x="3970" y="2156"/>
                    <a:pt x="4006" y="2185"/>
                    <a:pt x="4016" y="2161"/>
                  </a:cubicBezTo>
                  <a:cubicBezTo>
                    <a:pt x="4026" y="2137"/>
                    <a:pt x="3995" y="2063"/>
                    <a:pt x="4026" y="2078"/>
                  </a:cubicBezTo>
                  <a:close/>
                  <a:moveTo>
                    <a:pt x="4047" y="410"/>
                  </a:moveTo>
                  <a:lnTo>
                    <a:pt x="4047" y="339"/>
                  </a:lnTo>
                  <a:cubicBezTo>
                    <a:pt x="4063" y="344"/>
                    <a:pt x="4072" y="354"/>
                    <a:pt x="4072" y="373"/>
                  </a:cubicBezTo>
                  <a:cubicBezTo>
                    <a:pt x="4072" y="390"/>
                    <a:pt x="4062" y="402"/>
                    <a:pt x="4047" y="410"/>
                  </a:cubicBezTo>
                  <a:close/>
                  <a:moveTo>
                    <a:pt x="4047" y="569"/>
                  </a:moveTo>
                  <a:lnTo>
                    <a:pt x="4047" y="531"/>
                  </a:lnTo>
                  <a:cubicBezTo>
                    <a:pt x="4060" y="542"/>
                    <a:pt x="4061" y="559"/>
                    <a:pt x="4047" y="569"/>
                  </a:cubicBezTo>
                  <a:close/>
                  <a:moveTo>
                    <a:pt x="4047" y="1723"/>
                  </a:moveTo>
                  <a:lnTo>
                    <a:pt x="4047" y="1686"/>
                  </a:lnTo>
                  <a:cubicBezTo>
                    <a:pt x="4085" y="1690"/>
                    <a:pt x="4092" y="1727"/>
                    <a:pt x="4058" y="1725"/>
                  </a:cubicBezTo>
                  <a:cubicBezTo>
                    <a:pt x="4055" y="1725"/>
                    <a:pt x="4051" y="1724"/>
                    <a:pt x="4047" y="1723"/>
                  </a:cubicBezTo>
                  <a:close/>
                  <a:moveTo>
                    <a:pt x="4047" y="1951"/>
                  </a:moveTo>
                  <a:lnTo>
                    <a:pt x="4047" y="1845"/>
                  </a:lnTo>
                  <a:cubicBezTo>
                    <a:pt x="4087" y="1850"/>
                    <a:pt x="4099" y="1914"/>
                    <a:pt x="4077" y="1910"/>
                  </a:cubicBezTo>
                  <a:cubicBezTo>
                    <a:pt x="4054" y="1906"/>
                    <a:pt x="4086" y="1981"/>
                    <a:pt x="4048" y="1952"/>
                  </a:cubicBezTo>
                  <a:lnTo>
                    <a:pt x="4047" y="1951"/>
                  </a:lnTo>
                  <a:close/>
                  <a:moveTo>
                    <a:pt x="4047" y="2071"/>
                  </a:moveTo>
                  <a:lnTo>
                    <a:pt x="4047" y="2021"/>
                  </a:lnTo>
                  <a:cubicBezTo>
                    <a:pt x="4068" y="2040"/>
                    <a:pt x="4084" y="2066"/>
                    <a:pt x="4075" y="2077"/>
                  </a:cubicBezTo>
                  <a:cubicBezTo>
                    <a:pt x="4071" y="2083"/>
                    <a:pt x="4060" y="2079"/>
                    <a:pt x="4047" y="2071"/>
                  </a:cubicBezTo>
                  <a:close/>
                  <a:moveTo>
                    <a:pt x="4047" y="2317"/>
                  </a:moveTo>
                  <a:lnTo>
                    <a:pt x="4047" y="2306"/>
                  </a:lnTo>
                  <a:cubicBezTo>
                    <a:pt x="4048" y="2310"/>
                    <a:pt x="4048" y="2314"/>
                    <a:pt x="4047" y="2317"/>
                  </a:cubicBezTo>
                  <a:close/>
                  <a:moveTo>
                    <a:pt x="4193" y="678"/>
                  </a:moveTo>
                  <a:lnTo>
                    <a:pt x="4193" y="1415"/>
                  </a:lnTo>
                  <a:cubicBezTo>
                    <a:pt x="4187" y="1416"/>
                    <a:pt x="4180" y="1416"/>
                    <a:pt x="4174" y="1416"/>
                  </a:cubicBezTo>
                  <a:cubicBezTo>
                    <a:pt x="4132" y="1416"/>
                    <a:pt x="4086" y="1400"/>
                    <a:pt x="4047" y="1399"/>
                  </a:cubicBezTo>
                  <a:lnTo>
                    <a:pt x="4047" y="624"/>
                  </a:lnTo>
                  <a:cubicBezTo>
                    <a:pt x="4100" y="609"/>
                    <a:pt x="4145" y="607"/>
                    <a:pt x="4131" y="638"/>
                  </a:cubicBezTo>
                  <a:cubicBezTo>
                    <a:pt x="4107" y="693"/>
                    <a:pt x="4149" y="741"/>
                    <a:pt x="4174" y="705"/>
                  </a:cubicBezTo>
                  <a:cubicBezTo>
                    <a:pt x="4180" y="696"/>
                    <a:pt x="4186" y="686"/>
                    <a:pt x="4193" y="678"/>
                  </a:cubicBezTo>
                  <a:close/>
                  <a:moveTo>
                    <a:pt x="4193" y="402"/>
                  </a:moveTo>
                  <a:lnTo>
                    <a:pt x="4193" y="452"/>
                  </a:lnTo>
                  <a:cubicBezTo>
                    <a:pt x="4142" y="444"/>
                    <a:pt x="4122" y="397"/>
                    <a:pt x="4191" y="402"/>
                  </a:cubicBezTo>
                  <a:cubicBezTo>
                    <a:pt x="4191" y="402"/>
                    <a:pt x="4192" y="402"/>
                    <a:pt x="4193" y="402"/>
                  </a:cubicBezTo>
                  <a:close/>
                  <a:moveTo>
                    <a:pt x="4047" y="2091"/>
                  </a:moveTo>
                  <a:cubicBezTo>
                    <a:pt x="4063" y="2107"/>
                    <a:pt x="4063" y="2128"/>
                    <a:pt x="4079" y="2132"/>
                  </a:cubicBezTo>
                  <a:cubicBezTo>
                    <a:pt x="4100" y="2137"/>
                    <a:pt x="4141" y="2153"/>
                    <a:pt x="4110" y="2171"/>
                  </a:cubicBezTo>
                  <a:cubicBezTo>
                    <a:pt x="4079" y="2189"/>
                    <a:pt x="4065" y="2229"/>
                    <a:pt x="4052" y="2217"/>
                  </a:cubicBezTo>
                  <a:cubicBezTo>
                    <a:pt x="4050" y="2216"/>
                    <a:pt x="4049" y="2215"/>
                    <a:pt x="4047" y="2213"/>
                  </a:cubicBezTo>
                  <a:lnTo>
                    <a:pt x="4047" y="2091"/>
                  </a:lnTo>
                  <a:close/>
                  <a:moveTo>
                    <a:pt x="4193" y="452"/>
                  </a:moveTo>
                  <a:lnTo>
                    <a:pt x="4193" y="402"/>
                  </a:lnTo>
                  <a:cubicBezTo>
                    <a:pt x="4228" y="405"/>
                    <a:pt x="4270" y="453"/>
                    <a:pt x="4208" y="453"/>
                  </a:cubicBezTo>
                  <a:cubicBezTo>
                    <a:pt x="4203" y="453"/>
                    <a:pt x="4198" y="452"/>
                    <a:pt x="4193" y="452"/>
                  </a:cubicBezTo>
                  <a:close/>
                  <a:moveTo>
                    <a:pt x="4708" y="1418"/>
                  </a:moveTo>
                  <a:lnTo>
                    <a:pt x="4708" y="1694"/>
                  </a:lnTo>
                  <a:cubicBezTo>
                    <a:pt x="4704" y="1693"/>
                    <a:pt x="4699" y="1692"/>
                    <a:pt x="4694" y="1688"/>
                  </a:cubicBezTo>
                  <a:cubicBezTo>
                    <a:pt x="4637" y="1652"/>
                    <a:pt x="4657" y="1697"/>
                    <a:pt x="4628" y="1743"/>
                  </a:cubicBezTo>
                  <a:cubicBezTo>
                    <a:pt x="4598" y="1788"/>
                    <a:pt x="4493" y="1791"/>
                    <a:pt x="4488" y="1750"/>
                  </a:cubicBezTo>
                  <a:cubicBezTo>
                    <a:pt x="4484" y="1709"/>
                    <a:pt x="4504" y="1658"/>
                    <a:pt x="4491" y="1624"/>
                  </a:cubicBezTo>
                  <a:cubicBezTo>
                    <a:pt x="4477" y="1590"/>
                    <a:pt x="4466" y="1576"/>
                    <a:pt x="4534" y="1517"/>
                  </a:cubicBezTo>
                  <a:cubicBezTo>
                    <a:pt x="4602" y="1458"/>
                    <a:pt x="4621" y="1398"/>
                    <a:pt x="4680" y="1403"/>
                  </a:cubicBezTo>
                  <a:cubicBezTo>
                    <a:pt x="4689" y="1402"/>
                    <a:pt x="4699" y="1408"/>
                    <a:pt x="4708" y="1418"/>
                  </a:cubicBezTo>
                  <a:moveTo>
                    <a:pt x="4708" y="849"/>
                  </a:moveTo>
                  <a:cubicBezTo>
                    <a:pt x="4687" y="853"/>
                    <a:pt x="4667" y="857"/>
                    <a:pt x="4647" y="857"/>
                  </a:cubicBezTo>
                  <a:cubicBezTo>
                    <a:pt x="4599" y="857"/>
                    <a:pt x="4562" y="735"/>
                    <a:pt x="4508" y="735"/>
                  </a:cubicBezTo>
                  <a:cubicBezTo>
                    <a:pt x="4453" y="735"/>
                    <a:pt x="4344" y="741"/>
                    <a:pt x="4283" y="687"/>
                  </a:cubicBezTo>
                  <a:cubicBezTo>
                    <a:pt x="4238" y="646"/>
                    <a:pt x="4213" y="656"/>
                    <a:pt x="4193" y="678"/>
                  </a:cubicBezTo>
                  <a:lnTo>
                    <a:pt x="4193" y="1415"/>
                  </a:lnTo>
                  <a:cubicBezTo>
                    <a:pt x="4256" y="1412"/>
                    <a:pt x="4301" y="1394"/>
                    <a:pt x="4356" y="1422"/>
                  </a:cubicBezTo>
                  <a:cubicBezTo>
                    <a:pt x="4417" y="1452"/>
                    <a:pt x="4453" y="1373"/>
                    <a:pt x="4502" y="1300"/>
                  </a:cubicBezTo>
                  <a:cubicBezTo>
                    <a:pt x="4550" y="1227"/>
                    <a:pt x="4617" y="1246"/>
                    <a:pt x="4635" y="1282"/>
                  </a:cubicBezTo>
                  <a:cubicBezTo>
                    <a:pt x="4646" y="1303"/>
                    <a:pt x="4677" y="1302"/>
                    <a:pt x="4708" y="1291"/>
                  </a:cubicBezTo>
                  <a:lnTo>
                    <a:pt x="4708" y="849"/>
                  </a:lnTo>
                  <a:close/>
                  <a:moveTo>
                    <a:pt x="4708" y="747"/>
                  </a:moveTo>
                  <a:lnTo>
                    <a:pt x="4708" y="787"/>
                  </a:lnTo>
                  <a:cubicBezTo>
                    <a:pt x="4677" y="779"/>
                    <a:pt x="4653" y="746"/>
                    <a:pt x="4698" y="746"/>
                  </a:cubicBezTo>
                  <a:cubicBezTo>
                    <a:pt x="4702" y="746"/>
                    <a:pt x="4705" y="746"/>
                    <a:pt x="4708" y="747"/>
                  </a:cubicBezTo>
                  <a:close/>
                  <a:moveTo>
                    <a:pt x="4708" y="787"/>
                  </a:moveTo>
                  <a:lnTo>
                    <a:pt x="4708" y="747"/>
                  </a:lnTo>
                  <a:cubicBezTo>
                    <a:pt x="4744" y="751"/>
                    <a:pt x="4757" y="790"/>
                    <a:pt x="4723" y="790"/>
                  </a:cubicBezTo>
                  <a:cubicBezTo>
                    <a:pt x="4718" y="790"/>
                    <a:pt x="4713" y="789"/>
                    <a:pt x="4708" y="787"/>
                  </a:cubicBezTo>
                  <a:close/>
                  <a:moveTo>
                    <a:pt x="4708" y="1694"/>
                  </a:moveTo>
                  <a:cubicBezTo>
                    <a:pt x="4745" y="1696"/>
                    <a:pt x="4722" y="1574"/>
                    <a:pt x="4753" y="1569"/>
                  </a:cubicBezTo>
                  <a:cubicBezTo>
                    <a:pt x="4780" y="1566"/>
                    <a:pt x="4746" y="1458"/>
                    <a:pt x="4708" y="1418"/>
                  </a:cubicBezTo>
                  <a:lnTo>
                    <a:pt x="4708" y="1694"/>
                  </a:lnTo>
                  <a:close/>
                  <a:moveTo>
                    <a:pt x="4795" y="1431"/>
                  </a:moveTo>
                  <a:lnTo>
                    <a:pt x="4795" y="1476"/>
                  </a:lnTo>
                  <a:cubicBezTo>
                    <a:pt x="4765" y="1468"/>
                    <a:pt x="4745" y="1432"/>
                    <a:pt x="4787" y="1430"/>
                  </a:cubicBezTo>
                  <a:cubicBezTo>
                    <a:pt x="4790" y="1430"/>
                    <a:pt x="4792" y="1431"/>
                    <a:pt x="4795" y="1431"/>
                  </a:cubicBezTo>
                  <a:close/>
                  <a:moveTo>
                    <a:pt x="4795" y="1300"/>
                  </a:moveTo>
                  <a:lnTo>
                    <a:pt x="4795" y="1366"/>
                  </a:lnTo>
                  <a:cubicBezTo>
                    <a:pt x="4726" y="1354"/>
                    <a:pt x="4728" y="1330"/>
                    <a:pt x="4793" y="1300"/>
                  </a:cubicBezTo>
                  <a:lnTo>
                    <a:pt x="4795" y="1300"/>
                  </a:lnTo>
                  <a:close/>
                  <a:moveTo>
                    <a:pt x="4795" y="838"/>
                  </a:moveTo>
                  <a:lnTo>
                    <a:pt x="4795" y="1247"/>
                  </a:lnTo>
                  <a:cubicBezTo>
                    <a:pt x="4786" y="1248"/>
                    <a:pt x="4777" y="1251"/>
                    <a:pt x="4769" y="1258"/>
                  </a:cubicBezTo>
                  <a:cubicBezTo>
                    <a:pt x="4754" y="1271"/>
                    <a:pt x="4731" y="1283"/>
                    <a:pt x="4708" y="1291"/>
                  </a:cubicBezTo>
                  <a:lnTo>
                    <a:pt x="4708" y="849"/>
                  </a:lnTo>
                  <a:cubicBezTo>
                    <a:pt x="4734" y="843"/>
                    <a:pt x="4762" y="837"/>
                    <a:pt x="4795" y="838"/>
                  </a:cubicBezTo>
                  <a:moveTo>
                    <a:pt x="4795" y="1476"/>
                  </a:moveTo>
                  <a:lnTo>
                    <a:pt x="4795" y="1431"/>
                  </a:lnTo>
                  <a:cubicBezTo>
                    <a:pt x="4826" y="1437"/>
                    <a:pt x="4841" y="1478"/>
                    <a:pt x="4808" y="1478"/>
                  </a:cubicBezTo>
                  <a:cubicBezTo>
                    <a:pt x="4803" y="1478"/>
                    <a:pt x="4799" y="1478"/>
                    <a:pt x="4795" y="1476"/>
                  </a:cubicBezTo>
                  <a:close/>
                  <a:moveTo>
                    <a:pt x="4915" y="1643"/>
                  </a:moveTo>
                  <a:lnTo>
                    <a:pt x="4915" y="1681"/>
                  </a:lnTo>
                  <a:cubicBezTo>
                    <a:pt x="4886" y="1664"/>
                    <a:pt x="4864" y="1629"/>
                    <a:pt x="4885" y="1629"/>
                  </a:cubicBezTo>
                  <a:cubicBezTo>
                    <a:pt x="4893" y="1630"/>
                    <a:pt x="4904" y="1636"/>
                    <a:pt x="4915" y="1643"/>
                  </a:cubicBezTo>
                  <a:close/>
                  <a:moveTo>
                    <a:pt x="4915" y="834"/>
                  </a:moveTo>
                  <a:lnTo>
                    <a:pt x="4915" y="1344"/>
                  </a:lnTo>
                  <a:cubicBezTo>
                    <a:pt x="4876" y="1351"/>
                    <a:pt x="4864" y="1378"/>
                    <a:pt x="4799" y="1367"/>
                  </a:cubicBezTo>
                  <a:lnTo>
                    <a:pt x="4795" y="1366"/>
                  </a:lnTo>
                  <a:lnTo>
                    <a:pt x="4795" y="1300"/>
                  </a:lnTo>
                  <a:cubicBezTo>
                    <a:pt x="4845" y="1276"/>
                    <a:pt x="4824" y="1246"/>
                    <a:pt x="4795" y="1247"/>
                  </a:cubicBezTo>
                  <a:lnTo>
                    <a:pt x="4795" y="838"/>
                  </a:lnTo>
                  <a:cubicBezTo>
                    <a:pt x="4800" y="838"/>
                    <a:pt x="4806" y="838"/>
                    <a:pt x="4811" y="839"/>
                  </a:cubicBezTo>
                  <a:cubicBezTo>
                    <a:pt x="4870" y="844"/>
                    <a:pt x="4845" y="817"/>
                    <a:pt x="4915" y="834"/>
                  </a:cubicBezTo>
                  <a:close/>
                  <a:moveTo>
                    <a:pt x="4915" y="1681"/>
                  </a:moveTo>
                  <a:lnTo>
                    <a:pt x="4915" y="1643"/>
                  </a:lnTo>
                  <a:cubicBezTo>
                    <a:pt x="4943" y="1662"/>
                    <a:pt x="4970" y="1692"/>
                    <a:pt x="4942" y="1690"/>
                  </a:cubicBezTo>
                  <a:cubicBezTo>
                    <a:pt x="4933" y="1690"/>
                    <a:pt x="4924" y="1686"/>
                    <a:pt x="4915" y="1681"/>
                  </a:cubicBezTo>
                  <a:close/>
                  <a:moveTo>
                    <a:pt x="5333" y="868"/>
                  </a:moveTo>
                  <a:cubicBezTo>
                    <a:pt x="5272" y="832"/>
                    <a:pt x="5187" y="829"/>
                    <a:pt x="5121" y="796"/>
                  </a:cubicBezTo>
                  <a:cubicBezTo>
                    <a:pt x="5048" y="760"/>
                    <a:pt x="4963" y="735"/>
                    <a:pt x="5012" y="802"/>
                  </a:cubicBezTo>
                  <a:cubicBezTo>
                    <a:pt x="5061" y="869"/>
                    <a:pt x="5067" y="881"/>
                    <a:pt x="4951" y="845"/>
                  </a:cubicBezTo>
                  <a:cubicBezTo>
                    <a:pt x="4937" y="840"/>
                    <a:pt x="4925" y="837"/>
                    <a:pt x="4915" y="834"/>
                  </a:cubicBezTo>
                  <a:lnTo>
                    <a:pt x="4915" y="1344"/>
                  </a:lnTo>
                  <a:cubicBezTo>
                    <a:pt x="4921" y="1343"/>
                    <a:pt x="4926" y="1343"/>
                    <a:pt x="4933" y="1343"/>
                  </a:cubicBezTo>
                  <a:cubicBezTo>
                    <a:pt x="4988" y="1343"/>
                    <a:pt x="5024" y="1416"/>
                    <a:pt x="5061" y="1361"/>
                  </a:cubicBezTo>
                  <a:cubicBezTo>
                    <a:pt x="5097" y="1306"/>
                    <a:pt x="5127" y="1246"/>
                    <a:pt x="5225" y="1246"/>
                  </a:cubicBezTo>
                  <a:cubicBezTo>
                    <a:pt x="5322" y="1246"/>
                    <a:pt x="5322" y="1209"/>
                    <a:pt x="5237" y="1167"/>
                  </a:cubicBezTo>
                  <a:cubicBezTo>
                    <a:pt x="5152" y="1124"/>
                    <a:pt x="5127" y="1063"/>
                    <a:pt x="5182" y="1094"/>
                  </a:cubicBezTo>
                  <a:cubicBezTo>
                    <a:pt x="5237" y="1124"/>
                    <a:pt x="5310" y="1167"/>
                    <a:pt x="5291" y="1112"/>
                  </a:cubicBezTo>
                  <a:cubicBezTo>
                    <a:pt x="5280" y="1078"/>
                    <a:pt x="5302" y="1058"/>
                    <a:pt x="5333" y="1055"/>
                  </a:cubicBezTo>
                  <a:lnTo>
                    <a:pt x="5333" y="868"/>
                  </a:lnTo>
                  <a:close/>
                  <a:moveTo>
                    <a:pt x="5333" y="698"/>
                  </a:moveTo>
                  <a:lnTo>
                    <a:pt x="5333" y="757"/>
                  </a:lnTo>
                  <a:cubicBezTo>
                    <a:pt x="5275" y="750"/>
                    <a:pt x="5262" y="695"/>
                    <a:pt x="5333" y="698"/>
                  </a:cubicBezTo>
                  <a:close/>
                  <a:moveTo>
                    <a:pt x="5333" y="757"/>
                  </a:moveTo>
                  <a:lnTo>
                    <a:pt x="5333" y="698"/>
                  </a:lnTo>
                  <a:lnTo>
                    <a:pt x="5334" y="699"/>
                  </a:lnTo>
                  <a:cubicBezTo>
                    <a:pt x="5368" y="696"/>
                    <a:pt x="5414" y="758"/>
                    <a:pt x="5346" y="758"/>
                  </a:cubicBezTo>
                  <a:cubicBezTo>
                    <a:pt x="5341" y="758"/>
                    <a:pt x="5337" y="758"/>
                    <a:pt x="5333" y="757"/>
                  </a:cubicBezTo>
                  <a:close/>
                  <a:moveTo>
                    <a:pt x="5333" y="1055"/>
                  </a:moveTo>
                  <a:lnTo>
                    <a:pt x="5333" y="868"/>
                  </a:lnTo>
                  <a:cubicBezTo>
                    <a:pt x="5340" y="872"/>
                    <a:pt x="5346" y="876"/>
                    <a:pt x="5352" y="881"/>
                  </a:cubicBezTo>
                  <a:cubicBezTo>
                    <a:pt x="5413" y="930"/>
                    <a:pt x="5480" y="978"/>
                    <a:pt x="5571" y="978"/>
                  </a:cubicBezTo>
                  <a:cubicBezTo>
                    <a:pt x="5662" y="978"/>
                    <a:pt x="5571" y="1124"/>
                    <a:pt x="5510" y="1142"/>
                  </a:cubicBezTo>
                  <a:cubicBezTo>
                    <a:pt x="5449" y="1161"/>
                    <a:pt x="5449" y="1100"/>
                    <a:pt x="5395" y="1070"/>
                  </a:cubicBezTo>
                  <a:cubicBezTo>
                    <a:pt x="5374" y="1058"/>
                    <a:pt x="5352" y="1054"/>
                    <a:pt x="5333" y="105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p>
          </p:txBody>
        </p:sp>
        <p:sp>
          <p:nvSpPr>
            <p:cNvPr id="27" name="Freeform 189">
              <a:extLst>
                <a:ext uri="{FF2B5EF4-FFF2-40B4-BE49-F238E27FC236}">
                  <a16:creationId xmlns:a16="http://schemas.microsoft.com/office/drawing/2014/main" id="{71FF1892-069D-4D4B-A65D-AD66FB1441FA}"/>
                </a:ext>
              </a:extLst>
            </p:cNvPr>
            <p:cNvSpPr>
              <a:spLocks noEditPoints="1"/>
            </p:cNvSpPr>
            <p:nvPr/>
          </p:nvSpPr>
          <p:spPr bwMode="auto">
            <a:xfrm>
              <a:off x="5541963" y="1811338"/>
              <a:ext cx="1587500" cy="1401763"/>
            </a:xfrm>
            <a:custGeom>
              <a:avLst/>
              <a:gdLst>
                <a:gd name="T0" fmla="*/ 17 w 3093"/>
                <a:gd name="T1" fmla="*/ 2589 h 2732"/>
                <a:gd name="T2" fmla="*/ 163 w 3093"/>
                <a:gd name="T3" fmla="*/ 2540 h 2732"/>
                <a:gd name="T4" fmla="*/ 91 w 3093"/>
                <a:gd name="T5" fmla="*/ 2671 h 2732"/>
                <a:gd name="T6" fmla="*/ 91 w 3093"/>
                <a:gd name="T7" fmla="*/ 2671 h 2732"/>
                <a:gd name="T8" fmla="*/ 360 w 3093"/>
                <a:gd name="T9" fmla="*/ 1702 h 2732"/>
                <a:gd name="T10" fmla="*/ 407 w 3093"/>
                <a:gd name="T11" fmla="*/ 2106 h 2732"/>
                <a:gd name="T12" fmla="*/ 413 w 3093"/>
                <a:gd name="T13" fmla="*/ 2388 h 2732"/>
                <a:gd name="T14" fmla="*/ 449 w 3093"/>
                <a:gd name="T15" fmla="*/ 1723 h 2732"/>
                <a:gd name="T16" fmla="*/ 413 w 3093"/>
                <a:gd name="T17" fmla="*/ 1758 h 2732"/>
                <a:gd name="T18" fmla="*/ 477 w 3093"/>
                <a:gd name="T19" fmla="*/ 1778 h 2732"/>
                <a:gd name="T20" fmla="*/ 578 w 3093"/>
                <a:gd name="T21" fmla="*/ 1413 h 2732"/>
                <a:gd name="T22" fmla="*/ 413 w 3093"/>
                <a:gd name="T23" fmla="*/ 2106 h 2732"/>
                <a:gd name="T24" fmla="*/ 578 w 3093"/>
                <a:gd name="T25" fmla="*/ 2405 h 2732"/>
                <a:gd name="T26" fmla="*/ 578 w 3093"/>
                <a:gd name="T27" fmla="*/ 1413 h 2732"/>
                <a:gd name="T28" fmla="*/ 578 w 3093"/>
                <a:gd name="T29" fmla="*/ 1788 h 2732"/>
                <a:gd name="T30" fmla="*/ 703 w 3093"/>
                <a:gd name="T31" fmla="*/ 1515 h 2732"/>
                <a:gd name="T32" fmla="*/ 716 w 3093"/>
                <a:gd name="T33" fmla="*/ 1787 h 2732"/>
                <a:gd name="T34" fmla="*/ 578 w 3093"/>
                <a:gd name="T35" fmla="*/ 2113 h 2732"/>
                <a:gd name="T36" fmla="*/ 674 w 3093"/>
                <a:gd name="T37" fmla="*/ 2313 h 2732"/>
                <a:gd name="T38" fmla="*/ 716 w 3093"/>
                <a:gd name="T39" fmla="*/ 1523 h 2732"/>
                <a:gd name="T40" fmla="*/ 716 w 3093"/>
                <a:gd name="T41" fmla="*/ 1523 h 2732"/>
                <a:gd name="T42" fmla="*/ 743 w 3093"/>
                <a:gd name="T43" fmla="*/ 1718 h 2732"/>
                <a:gd name="T44" fmla="*/ 756 w 3093"/>
                <a:gd name="T45" fmla="*/ 1775 h 2732"/>
                <a:gd name="T46" fmla="*/ 716 w 3093"/>
                <a:gd name="T47" fmla="*/ 2266 h 2732"/>
                <a:gd name="T48" fmla="*/ 756 w 3093"/>
                <a:gd name="T49" fmla="*/ 1775 h 2732"/>
                <a:gd name="T50" fmla="*/ 1404 w 3093"/>
                <a:gd name="T51" fmla="*/ 226 h 2732"/>
                <a:gd name="T52" fmla="*/ 1150 w 3093"/>
                <a:gd name="T53" fmla="*/ 116 h 2732"/>
                <a:gd name="T54" fmla="*/ 756 w 3093"/>
                <a:gd name="T55" fmla="*/ 1726 h 2732"/>
                <a:gd name="T56" fmla="*/ 756 w 3093"/>
                <a:gd name="T57" fmla="*/ 1726 h 2732"/>
                <a:gd name="T58" fmla="*/ 2578 w 3093"/>
                <a:gd name="T59" fmla="*/ 707 h 2732"/>
                <a:gd name="T60" fmla="*/ 2406 w 3093"/>
                <a:gd name="T61" fmla="*/ 2336 h 2732"/>
                <a:gd name="T62" fmla="*/ 2431 w 3093"/>
                <a:gd name="T63" fmla="*/ 2005 h 2732"/>
                <a:gd name="T64" fmla="*/ 2597 w 3093"/>
                <a:gd name="T65" fmla="*/ 1624 h 2732"/>
                <a:gd name="T66" fmla="*/ 2597 w 3093"/>
                <a:gd name="T67" fmla="*/ 1076 h 2732"/>
                <a:gd name="T68" fmla="*/ 2503 w 3093"/>
                <a:gd name="T69" fmla="*/ 848 h 2732"/>
                <a:gd name="T70" fmla="*/ 2205 w 3093"/>
                <a:gd name="T71" fmla="*/ 988 h 2732"/>
                <a:gd name="T72" fmla="*/ 2023 w 3093"/>
                <a:gd name="T73" fmla="*/ 1110 h 2732"/>
                <a:gd name="T74" fmla="*/ 2011 w 3093"/>
                <a:gd name="T75" fmla="*/ 976 h 2732"/>
                <a:gd name="T76" fmla="*/ 1658 w 3093"/>
                <a:gd name="T77" fmla="*/ 678 h 2732"/>
                <a:gd name="T78" fmla="*/ 911 w 3093"/>
                <a:gd name="T79" fmla="*/ 1195 h 2732"/>
                <a:gd name="T80" fmla="*/ 1142 w 3093"/>
                <a:gd name="T81" fmla="*/ 1517 h 2732"/>
                <a:gd name="T82" fmla="*/ 1330 w 3093"/>
                <a:gd name="T83" fmla="*/ 1207 h 2732"/>
                <a:gd name="T84" fmla="*/ 1433 w 3093"/>
                <a:gd name="T85" fmla="*/ 1268 h 2732"/>
                <a:gd name="T86" fmla="*/ 1537 w 3093"/>
                <a:gd name="T87" fmla="*/ 1407 h 2732"/>
                <a:gd name="T88" fmla="*/ 1257 w 3093"/>
                <a:gd name="T89" fmla="*/ 1559 h 2732"/>
                <a:gd name="T90" fmla="*/ 917 w 3093"/>
                <a:gd name="T91" fmla="*/ 1669 h 2732"/>
                <a:gd name="T92" fmla="*/ 777 w 3093"/>
                <a:gd name="T93" fmla="*/ 2136 h 2732"/>
                <a:gd name="T94" fmla="*/ 1221 w 3093"/>
                <a:gd name="T95" fmla="*/ 2355 h 2732"/>
                <a:gd name="T96" fmla="*/ 1184 w 3093"/>
                <a:gd name="T97" fmla="*/ 2106 h 2732"/>
                <a:gd name="T98" fmla="*/ 1397 w 3093"/>
                <a:gd name="T99" fmla="*/ 2300 h 2732"/>
                <a:gd name="T100" fmla="*/ 1670 w 3093"/>
                <a:gd name="T101" fmla="*/ 2209 h 2732"/>
                <a:gd name="T102" fmla="*/ 1980 w 3093"/>
                <a:gd name="T103" fmla="*/ 1948 h 2732"/>
                <a:gd name="T104" fmla="*/ 2096 w 3093"/>
                <a:gd name="T105" fmla="*/ 2203 h 2732"/>
                <a:gd name="T106" fmla="*/ 2597 w 3093"/>
                <a:gd name="T107" fmla="*/ 474 h 2732"/>
                <a:gd name="T108" fmla="*/ 3004 w 3093"/>
                <a:gd name="T109" fmla="*/ 267 h 2732"/>
                <a:gd name="T110" fmla="*/ 2597 w 3093"/>
                <a:gd name="T111" fmla="*/ 722 h 2732"/>
                <a:gd name="T112" fmla="*/ 2606 w 3093"/>
                <a:gd name="T113" fmla="*/ 870 h 2732"/>
                <a:gd name="T114" fmla="*/ 2597 w 3093"/>
                <a:gd name="T115" fmla="*/ 1752 h 2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93" h="2732">
                  <a:moveTo>
                    <a:pt x="24" y="2549"/>
                  </a:moveTo>
                  <a:cubicBezTo>
                    <a:pt x="43" y="2539"/>
                    <a:pt x="58" y="2548"/>
                    <a:pt x="55" y="2567"/>
                  </a:cubicBezTo>
                  <a:cubicBezTo>
                    <a:pt x="51" y="2586"/>
                    <a:pt x="34" y="2610"/>
                    <a:pt x="17" y="2589"/>
                  </a:cubicBezTo>
                  <a:cubicBezTo>
                    <a:pt x="0" y="2568"/>
                    <a:pt x="2" y="2556"/>
                    <a:pt x="24" y="2549"/>
                  </a:cubicBezTo>
                  <a:close/>
                  <a:moveTo>
                    <a:pt x="132" y="2522"/>
                  </a:moveTo>
                  <a:cubicBezTo>
                    <a:pt x="152" y="2512"/>
                    <a:pt x="167" y="2521"/>
                    <a:pt x="163" y="2540"/>
                  </a:cubicBezTo>
                  <a:cubicBezTo>
                    <a:pt x="159" y="2559"/>
                    <a:pt x="143" y="2583"/>
                    <a:pt x="126" y="2562"/>
                  </a:cubicBezTo>
                  <a:cubicBezTo>
                    <a:pt x="109" y="2541"/>
                    <a:pt x="110" y="2528"/>
                    <a:pt x="132" y="2522"/>
                  </a:cubicBezTo>
                  <a:close/>
                  <a:moveTo>
                    <a:pt x="91" y="2671"/>
                  </a:moveTo>
                  <a:cubicBezTo>
                    <a:pt x="111" y="2661"/>
                    <a:pt x="126" y="2670"/>
                    <a:pt x="122" y="2689"/>
                  </a:cubicBezTo>
                  <a:cubicBezTo>
                    <a:pt x="119" y="2709"/>
                    <a:pt x="102" y="2732"/>
                    <a:pt x="85" y="2711"/>
                  </a:cubicBezTo>
                  <a:cubicBezTo>
                    <a:pt x="68" y="2691"/>
                    <a:pt x="70" y="2678"/>
                    <a:pt x="91" y="2671"/>
                  </a:cubicBezTo>
                  <a:close/>
                  <a:moveTo>
                    <a:pt x="413" y="1557"/>
                  </a:moveTo>
                  <a:lnTo>
                    <a:pt x="413" y="1758"/>
                  </a:lnTo>
                  <a:cubicBezTo>
                    <a:pt x="383" y="1767"/>
                    <a:pt x="351" y="1744"/>
                    <a:pt x="360" y="1702"/>
                  </a:cubicBezTo>
                  <a:cubicBezTo>
                    <a:pt x="373" y="1643"/>
                    <a:pt x="329" y="1551"/>
                    <a:pt x="413" y="1557"/>
                  </a:cubicBezTo>
                  <a:close/>
                  <a:moveTo>
                    <a:pt x="413" y="2106"/>
                  </a:moveTo>
                  <a:cubicBezTo>
                    <a:pt x="411" y="2106"/>
                    <a:pt x="409" y="2106"/>
                    <a:pt x="407" y="2106"/>
                  </a:cubicBezTo>
                  <a:cubicBezTo>
                    <a:pt x="346" y="2106"/>
                    <a:pt x="376" y="2161"/>
                    <a:pt x="346" y="2215"/>
                  </a:cubicBezTo>
                  <a:cubicBezTo>
                    <a:pt x="316" y="2270"/>
                    <a:pt x="358" y="2294"/>
                    <a:pt x="358" y="2355"/>
                  </a:cubicBezTo>
                  <a:cubicBezTo>
                    <a:pt x="358" y="2386"/>
                    <a:pt x="382" y="2389"/>
                    <a:pt x="413" y="2388"/>
                  </a:cubicBezTo>
                  <a:lnTo>
                    <a:pt x="413" y="2106"/>
                  </a:lnTo>
                  <a:close/>
                  <a:moveTo>
                    <a:pt x="413" y="1758"/>
                  </a:moveTo>
                  <a:cubicBezTo>
                    <a:pt x="427" y="1754"/>
                    <a:pt x="441" y="1743"/>
                    <a:pt x="449" y="1723"/>
                  </a:cubicBezTo>
                  <a:cubicBezTo>
                    <a:pt x="477" y="1661"/>
                    <a:pt x="477" y="1551"/>
                    <a:pt x="422" y="1558"/>
                  </a:cubicBezTo>
                  <a:cubicBezTo>
                    <a:pt x="419" y="1558"/>
                    <a:pt x="416" y="1557"/>
                    <a:pt x="413" y="1557"/>
                  </a:cubicBezTo>
                  <a:lnTo>
                    <a:pt x="413" y="1758"/>
                  </a:lnTo>
                  <a:close/>
                  <a:moveTo>
                    <a:pt x="578" y="1413"/>
                  </a:moveTo>
                  <a:lnTo>
                    <a:pt x="578" y="1788"/>
                  </a:lnTo>
                  <a:cubicBezTo>
                    <a:pt x="524" y="1811"/>
                    <a:pt x="487" y="1842"/>
                    <a:pt x="477" y="1778"/>
                  </a:cubicBezTo>
                  <a:cubicBezTo>
                    <a:pt x="463" y="1689"/>
                    <a:pt x="456" y="1696"/>
                    <a:pt x="539" y="1661"/>
                  </a:cubicBezTo>
                  <a:cubicBezTo>
                    <a:pt x="621" y="1627"/>
                    <a:pt x="504" y="1407"/>
                    <a:pt x="566" y="1414"/>
                  </a:cubicBezTo>
                  <a:cubicBezTo>
                    <a:pt x="570" y="1413"/>
                    <a:pt x="574" y="1413"/>
                    <a:pt x="578" y="1413"/>
                  </a:cubicBezTo>
                  <a:close/>
                  <a:moveTo>
                    <a:pt x="578" y="2113"/>
                  </a:moveTo>
                  <a:cubicBezTo>
                    <a:pt x="568" y="2116"/>
                    <a:pt x="557" y="2118"/>
                    <a:pt x="546" y="2118"/>
                  </a:cubicBezTo>
                  <a:cubicBezTo>
                    <a:pt x="482" y="2118"/>
                    <a:pt x="468" y="2107"/>
                    <a:pt x="413" y="2106"/>
                  </a:cubicBezTo>
                  <a:lnTo>
                    <a:pt x="413" y="2388"/>
                  </a:lnTo>
                  <a:cubicBezTo>
                    <a:pt x="443" y="2387"/>
                    <a:pt x="480" y="2382"/>
                    <a:pt x="504" y="2398"/>
                  </a:cubicBezTo>
                  <a:cubicBezTo>
                    <a:pt x="529" y="2414"/>
                    <a:pt x="555" y="2413"/>
                    <a:pt x="578" y="2405"/>
                  </a:cubicBezTo>
                  <a:lnTo>
                    <a:pt x="578" y="2113"/>
                  </a:lnTo>
                  <a:close/>
                  <a:moveTo>
                    <a:pt x="578" y="1788"/>
                  </a:moveTo>
                  <a:lnTo>
                    <a:pt x="578" y="1413"/>
                  </a:lnTo>
                  <a:cubicBezTo>
                    <a:pt x="663" y="1410"/>
                    <a:pt x="668" y="1526"/>
                    <a:pt x="655" y="1572"/>
                  </a:cubicBezTo>
                  <a:cubicBezTo>
                    <a:pt x="642" y="1620"/>
                    <a:pt x="738" y="1771"/>
                    <a:pt x="648" y="1771"/>
                  </a:cubicBezTo>
                  <a:cubicBezTo>
                    <a:pt x="623" y="1771"/>
                    <a:pt x="599" y="1779"/>
                    <a:pt x="578" y="1788"/>
                  </a:cubicBezTo>
                  <a:close/>
                  <a:moveTo>
                    <a:pt x="716" y="1472"/>
                  </a:moveTo>
                  <a:lnTo>
                    <a:pt x="716" y="1523"/>
                  </a:lnTo>
                  <a:cubicBezTo>
                    <a:pt x="712" y="1523"/>
                    <a:pt x="708" y="1520"/>
                    <a:pt x="703" y="1515"/>
                  </a:cubicBezTo>
                  <a:cubicBezTo>
                    <a:pt x="686" y="1494"/>
                    <a:pt x="688" y="1481"/>
                    <a:pt x="710" y="1475"/>
                  </a:cubicBezTo>
                  <a:cubicBezTo>
                    <a:pt x="712" y="1474"/>
                    <a:pt x="714" y="1473"/>
                    <a:pt x="716" y="1472"/>
                  </a:cubicBezTo>
                  <a:close/>
                  <a:moveTo>
                    <a:pt x="716" y="1787"/>
                  </a:moveTo>
                  <a:cubicBezTo>
                    <a:pt x="654" y="1800"/>
                    <a:pt x="636" y="1781"/>
                    <a:pt x="607" y="1833"/>
                  </a:cubicBezTo>
                  <a:cubicBezTo>
                    <a:pt x="577" y="1887"/>
                    <a:pt x="559" y="1954"/>
                    <a:pt x="613" y="2003"/>
                  </a:cubicBezTo>
                  <a:cubicBezTo>
                    <a:pt x="659" y="2043"/>
                    <a:pt x="628" y="2097"/>
                    <a:pt x="578" y="2113"/>
                  </a:cubicBezTo>
                  <a:lnTo>
                    <a:pt x="578" y="2405"/>
                  </a:lnTo>
                  <a:cubicBezTo>
                    <a:pt x="598" y="2398"/>
                    <a:pt x="617" y="2385"/>
                    <a:pt x="631" y="2373"/>
                  </a:cubicBezTo>
                  <a:cubicBezTo>
                    <a:pt x="662" y="2349"/>
                    <a:pt x="680" y="2355"/>
                    <a:pt x="674" y="2313"/>
                  </a:cubicBezTo>
                  <a:cubicBezTo>
                    <a:pt x="670" y="2282"/>
                    <a:pt x="691" y="2270"/>
                    <a:pt x="716" y="2266"/>
                  </a:cubicBezTo>
                  <a:lnTo>
                    <a:pt x="716" y="1787"/>
                  </a:lnTo>
                  <a:close/>
                  <a:moveTo>
                    <a:pt x="716" y="1523"/>
                  </a:moveTo>
                  <a:lnTo>
                    <a:pt x="716" y="1472"/>
                  </a:lnTo>
                  <a:cubicBezTo>
                    <a:pt x="732" y="1467"/>
                    <a:pt x="744" y="1476"/>
                    <a:pt x="741" y="1493"/>
                  </a:cubicBezTo>
                  <a:cubicBezTo>
                    <a:pt x="738" y="1507"/>
                    <a:pt x="728" y="1523"/>
                    <a:pt x="716" y="1523"/>
                  </a:cubicBezTo>
                  <a:close/>
                  <a:moveTo>
                    <a:pt x="756" y="1675"/>
                  </a:moveTo>
                  <a:lnTo>
                    <a:pt x="756" y="1726"/>
                  </a:lnTo>
                  <a:cubicBezTo>
                    <a:pt x="752" y="1726"/>
                    <a:pt x="748" y="1724"/>
                    <a:pt x="743" y="1718"/>
                  </a:cubicBezTo>
                  <a:cubicBezTo>
                    <a:pt x="726" y="1698"/>
                    <a:pt x="728" y="1685"/>
                    <a:pt x="750" y="1678"/>
                  </a:cubicBezTo>
                  <a:cubicBezTo>
                    <a:pt x="752" y="1677"/>
                    <a:pt x="754" y="1676"/>
                    <a:pt x="756" y="1675"/>
                  </a:cubicBezTo>
                  <a:close/>
                  <a:moveTo>
                    <a:pt x="756" y="1775"/>
                  </a:moveTo>
                  <a:cubicBezTo>
                    <a:pt x="747" y="1779"/>
                    <a:pt x="738" y="1782"/>
                    <a:pt x="729" y="1784"/>
                  </a:cubicBezTo>
                  <a:cubicBezTo>
                    <a:pt x="724" y="1785"/>
                    <a:pt x="720" y="1786"/>
                    <a:pt x="716" y="1787"/>
                  </a:cubicBezTo>
                  <a:lnTo>
                    <a:pt x="716" y="2266"/>
                  </a:lnTo>
                  <a:cubicBezTo>
                    <a:pt x="726" y="2264"/>
                    <a:pt x="737" y="2264"/>
                    <a:pt x="747" y="2264"/>
                  </a:cubicBezTo>
                  <a:cubicBezTo>
                    <a:pt x="750" y="2264"/>
                    <a:pt x="753" y="2263"/>
                    <a:pt x="756" y="2263"/>
                  </a:cubicBezTo>
                  <a:lnTo>
                    <a:pt x="756" y="1775"/>
                  </a:lnTo>
                  <a:close/>
                  <a:moveTo>
                    <a:pt x="1349" y="48"/>
                  </a:moveTo>
                  <a:cubicBezTo>
                    <a:pt x="1493" y="48"/>
                    <a:pt x="1452" y="82"/>
                    <a:pt x="1520" y="130"/>
                  </a:cubicBezTo>
                  <a:cubicBezTo>
                    <a:pt x="1589" y="178"/>
                    <a:pt x="1500" y="295"/>
                    <a:pt x="1404" y="226"/>
                  </a:cubicBezTo>
                  <a:cubicBezTo>
                    <a:pt x="1308" y="157"/>
                    <a:pt x="1363" y="322"/>
                    <a:pt x="1280" y="260"/>
                  </a:cubicBezTo>
                  <a:cubicBezTo>
                    <a:pt x="1198" y="199"/>
                    <a:pt x="1184" y="151"/>
                    <a:pt x="1273" y="144"/>
                  </a:cubicBezTo>
                  <a:cubicBezTo>
                    <a:pt x="1363" y="137"/>
                    <a:pt x="1191" y="68"/>
                    <a:pt x="1150" y="116"/>
                  </a:cubicBezTo>
                  <a:cubicBezTo>
                    <a:pt x="1109" y="164"/>
                    <a:pt x="1019" y="0"/>
                    <a:pt x="1143" y="0"/>
                  </a:cubicBezTo>
                  <a:cubicBezTo>
                    <a:pt x="1266" y="0"/>
                    <a:pt x="1239" y="6"/>
                    <a:pt x="1349" y="48"/>
                  </a:cubicBezTo>
                  <a:close/>
                  <a:moveTo>
                    <a:pt x="756" y="1726"/>
                  </a:moveTo>
                  <a:lnTo>
                    <a:pt x="756" y="1675"/>
                  </a:lnTo>
                  <a:cubicBezTo>
                    <a:pt x="772" y="1670"/>
                    <a:pt x="784" y="1679"/>
                    <a:pt x="780" y="1696"/>
                  </a:cubicBezTo>
                  <a:cubicBezTo>
                    <a:pt x="778" y="1711"/>
                    <a:pt x="768" y="1727"/>
                    <a:pt x="756" y="1726"/>
                  </a:cubicBezTo>
                  <a:close/>
                  <a:moveTo>
                    <a:pt x="2597" y="474"/>
                  </a:moveTo>
                  <a:lnTo>
                    <a:pt x="2597" y="722"/>
                  </a:lnTo>
                  <a:cubicBezTo>
                    <a:pt x="2592" y="718"/>
                    <a:pt x="2585" y="713"/>
                    <a:pt x="2578" y="707"/>
                  </a:cubicBezTo>
                  <a:cubicBezTo>
                    <a:pt x="2503" y="638"/>
                    <a:pt x="2502" y="495"/>
                    <a:pt x="2597" y="474"/>
                  </a:cubicBezTo>
                  <a:close/>
                  <a:moveTo>
                    <a:pt x="2039" y="2199"/>
                  </a:moveTo>
                  <a:cubicBezTo>
                    <a:pt x="2147" y="2255"/>
                    <a:pt x="2300" y="2317"/>
                    <a:pt x="2406" y="2336"/>
                  </a:cubicBezTo>
                  <a:cubicBezTo>
                    <a:pt x="2356" y="2305"/>
                    <a:pt x="2415" y="2262"/>
                    <a:pt x="2351" y="2206"/>
                  </a:cubicBezTo>
                  <a:cubicBezTo>
                    <a:pt x="2269" y="2135"/>
                    <a:pt x="2290" y="2073"/>
                    <a:pt x="2372" y="2012"/>
                  </a:cubicBezTo>
                  <a:cubicBezTo>
                    <a:pt x="2395" y="2008"/>
                    <a:pt x="2415" y="2006"/>
                    <a:pt x="2431" y="2005"/>
                  </a:cubicBezTo>
                  <a:cubicBezTo>
                    <a:pt x="2366" y="1856"/>
                    <a:pt x="2409" y="1756"/>
                    <a:pt x="2515" y="1776"/>
                  </a:cubicBezTo>
                  <a:cubicBezTo>
                    <a:pt x="2549" y="1782"/>
                    <a:pt x="2577" y="1770"/>
                    <a:pt x="2597" y="1752"/>
                  </a:cubicBezTo>
                  <a:lnTo>
                    <a:pt x="2597" y="1624"/>
                  </a:lnTo>
                  <a:cubicBezTo>
                    <a:pt x="2591" y="1623"/>
                    <a:pt x="2585" y="1622"/>
                    <a:pt x="2577" y="1622"/>
                  </a:cubicBezTo>
                  <a:cubicBezTo>
                    <a:pt x="2474" y="1622"/>
                    <a:pt x="2505" y="1499"/>
                    <a:pt x="2474" y="1345"/>
                  </a:cubicBezTo>
                  <a:cubicBezTo>
                    <a:pt x="2459" y="1270"/>
                    <a:pt x="2536" y="1167"/>
                    <a:pt x="2597" y="1076"/>
                  </a:cubicBezTo>
                  <a:lnTo>
                    <a:pt x="2597" y="872"/>
                  </a:lnTo>
                  <a:cubicBezTo>
                    <a:pt x="2586" y="876"/>
                    <a:pt x="2575" y="881"/>
                    <a:pt x="2563" y="885"/>
                  </a:cubicBezTo>
                  <a:cubicBezTo>
                    <a:pt x="2484" y="915"/>
                    <a:pt x="2588" y="830"/>
                    <a:pt x="2503" y="848"/>
                  </a:cubicBezTo>
                  <a:cubicBezTo>
                    <a:pt x="2418" y="867"/>
                    <a:pt x="2357" y="915"/>
                    <a:pt x="2308" y="958"/>
                  </a:cubicBezTo>
                  <a:cubicBezTo>
                    <a:pt x="2260" y="1000"/>
                    <a:pt x="2314" y="842"/>
                    <a:pt x="2248" y="842"/>
                  </a:cubicBezTo>
                  <a:cubicBezTo>
                    <a:pt x="2181" y="842"/>
                    <a:pt x="2272" y="988"/>
                    <a:pt x="2205" y="988"/>
                  </a:cubicBezTo>
                  <a:cubicBezTo>
                    <a:pt x="2138" y="988"/>
                    <a:pt x="2077" y="1000"/>
                    <a:pt x="2120" y="1037"/>
                  </a:cubicBezTo>
                  <a:cubicBezTo>
                    <a:pt x="2162" y="1073"/>
                    <a:pt x="2096" y="1067"/>
                    <a:pt x="2029" y="1049"/>
                  </a:cubicBezTo>
                  <a:cubicBezTo>
                    <a:pt x="1962" y="1031"/>
                    <a:pt x="2053" y="1091"/>
                    <a:pt x="2023" y="1110"/>
                  </a:cubicBezTo>
                  <a:cubicBezTo>
                    <a:pt x="1992" y="1128"/>
                    <a:pt x="1926" y="1098"/>
                    <a:pt x="1889" y="1055"/>
                  </a:cubicBezTo>
                  <a:cubicBezTo>
                    <a:pt x="1853" y="1012"/>
                    <a:pt x="1780" y="982"/>
                    <a:pt x="1816" y="952"/>
                  </a:cubicBezTo>
                  <a:cubicBezTo>
                    <a:pt x="1853" y="921"/>
                    <a:pt x="1913" y="976"/>
                    <a:pt x="2011" y="976"/>
                  </a:cubicBezTo>
                  <a:cubicBezTo>
                    <a:pt x="2108" y="976"/>
                    <a:pt x="2090" y="873"/>
                    <a:pt x="2011" y="861"/>
                  </a:cubicBezTo>
                  <a:cubicBezTo>
                    <a:pt x="1932" y="848"/>
                    <a:pt x="1938" y="818"/>
                    <a:pt x="1865" y="763"/>
                  </a:cubicBezTo>
                  <a:cubicBezTo>
                    <a:pt x="1792" y="709"/>
                    <a:pt x="1755" y="721"/>
                    <a:pt x="1658" y="678"/>
                  </a:cubicBezTo>
                  <a:cubicBezTo>
                    <a:pt x="1561" y="636"/>
                    <a:pt x="1440" y="745"/>
                    <a:pt x="1354" y="763"/>
                  </a:cubicBezTo>
                  <a:cubicBezTo>
                    <a:pt x="1269" y="782"/>
                    <a:pt x="1154" y="940"/>
                    <a:pt x="1105" y="1006"/>
                  </a:cubicBezTo>
                  <a:cubicBezTo>
                    <a:pt x="1057" y="1073"/>
                    <a:pt x="972" y="1128"/>
                    <a:pt x="911" y="1195"/>
                  </a:cubicBezTo>
                  <a:cubicBezTo>
                    <a:pt x="850" y="1262"/>
                    <a:pt x="899" y="1383"/>
                    <a:pt x="953" y="1468"/>
                  </a:cubicBezTo>
                  <a:cubicBezTo>
                    <a:pt x="1008" y="1553"/>
                    <a:pt x="1002" y="1450"/>
                    <a:pt x="1045" y="1420"/>
                  </a:cubicBezTo>
                  <a:cubicBezTo>
                    <a:pt x="1087" y="1389"/>
                    <a:pt x="1124" y="1456"/>
                    <a:pt x="1142" y="1517"/>
                  </a:cubicBezTo>
                  <a:cubicBezTo>
                    <a:pt x="1160" y="1577"/>
                    <a:pt x="1196" y="1486"/>
                    <a:pt x="1239" y="1486"/>
                  </a:cubicBezTo>
                  <a:cubicBezTo>
                    <a:pt x="1282" y="1486"/>
                    <a:pt x="1300" y="1432"/>
                    <a:pt x="1348" y="1383"/>
                  </a:cubicBezTo>
                  <a:cubicBezTo>
                    <a:pt x="1397" y="1334"/>
                    <a:pt x="1306" y="1274"/>
                    <a:pt x="1330" y="1207"/>
                  </a:cubicBezTo>
                  <a:cubicBezTo>
                    <a:pt x="1354" y="1140"/>
                    <a:pt x="1427" y="1110"/>
                    <a:pt x="1446" y="1043"/>
                  </a:cubicBezTo>
                  <a:cubicBezTo>
                    <a:pt x="1464" y="976"/>
                    <a:pt x="1591" y="1000"/>
                    <a:pt x="1543" y="1055"/>
                  </a:cubicBezTo>
                  <a:cubicBezTo>
                    <a:pt x="1494" y="1110"/>
                    <a:pt x="1403" y="1195"/>
                    <a:pt x="1433" y="1268"/>
                  </a:cubicBezTo>
                  <a:cubicBezTo>
                    <a:pt x="1464" y="1341"/>
                    <a:pt x="1525" y="1298"/>
                    <a:pt x="1597" y="1286"/>
                  </a:cubicBezTo>
                  <a:cubicBezTo>
                    <a:pt x="1670" y="1274"/>
                    <a:pt x="1676" y="1322"/>
                    <a:pt x="1616" y="1353"/>
                  </a:cubicBezTo>
                  <a:cubicBezTo>
                    <a:pt x="1555" y="1383"/>
                    <a:pt x="1482" y="1353"/>
                    <a:pt x="1537" y="1407"/>
                  </a:cubicBezTo>
                  <a:cubicBezTo>
                    <a:pt x="1591" y="1462"/>
                    <a:pt x="1531" y="1456"/>
                    <a:pt x="1458" y="1456"/>
                  </a:cubicBezTo>
                  <a:cubicBezTo>
                    <a:pt x="1385" y="1456"/>
                    <a:pt x="1470" y="1529"/>
                    <a:pt x="1421" y="1571"/>
                  </a:cubicBezTo>
                  <a:cubicBezTo>
                    <a:pt x="1373" y="1614"/>
                    <a:pt x="1324" y="1559"/>
                    <a:pt x="1257" y="1559"/>
                  </a:cubicBezTo>
                  <a:cubicBezTo>
                    <a:pt x="1190" y="1559"/>
                    <a:pt x="1172" y="1590"/>
                    <a:pt x="1093" y="1590"/>
                  </a:cubicBezTo>
                  <a:cubicBezTo>
                    <a:pt x="1014" y="1590"/>
                    <a:pt x="1045" y="1535"/>
                    <a:pt x="996" y="1535"/>
                  </a:cubicBezTo>
                  <a:cubicBezTo>
                    <a:pt x="947" y="1535"/>
                    <a:pt x="960" y="1626"/>
                    <a:pt x="917" y="1669"/>
                  </a:cubicBezTo>
                  <a:cubicBezTo>
                    <a:pt x="880" y="1706"/>
                    <a:pt x="820" y="1752"/>
                    <a:pt x="756" y="1775"/>
                  </a:cubicBezTo>
                  <a:lnTo>
                    <a:pt x="756" y="2263"/>
                  </a:lnTo>
                  <a:cubicBezTo>
                    <a:pt x="785" y="2253"/>
                    <a:pt x="794" y="2197"/>
                    <a:pt x="777" y="2136"/>
                  </a:cubicBezTo>
                  <a:cubicBezTo>
                    <a:pt x="759" y="2070"/>
                    <a:pt x="875" y="2094"/>
                    <a:pt x="972" y="2094"/>
                  </a:cubicBezTo>
                  <a:cubicBezTo>
                    <a:pt x="1069" y="2094"/>
                    <a:pt x="1081" y="2161"/>
                    <a:pt x="1148" y="2185"/>
                  </a:cubicBezTo>
                  <a:cubicBezTo>
                    <a:pt x="1215" y="2209"/>
                    <a:pt x="1221" y="2270"/>
                    <a:pt x="1221" y="2355"/>
                  </a:cubicBezTo>
                  <a:cubicBezTo>
                    <a:pt x="1221" y="2440"/>
                    <a:pt x="1288" y="2325"/>
                    <a:pt x="1300" y="2288"/>
                  </a:cubicBezTo>
                  <a:cubicBezTo>
                    <a:pt x="1312" y="2252"/>
                    <a:pt x="1336" y="2167"/>
                    <a:pt x="1288" y="2167"/>
                  </a:cubicBezTo>
                  <a:cubicBezTo>
                    <a:pt x="1239" y="2167"/>
                    <a:pt x="1227" y="2149"/>
                    <a:pt x="1184" y="2106"/>
                  </a:cubicBezTo>
                  <a:cubicBezTo>
                    <a:pt x="1142" y="2064"/>
                    <a:pt x="1178" y="2039"/>
                    <a:pt x="1221" y="2076"/>
                  </a:cubicBezTo>
                  <a:cubicBezTo>
                    <a:pt x="1263" y="2112"/>
                    <a:pt x="1282" y="2130"/>
                    <a:pt x="1312" y="2167"/>
                  </a:cubicBezTo>
                  <a:cubicBezTo>
                    <a:pt x="1342" y="2203"/>
                    <a:pt x="1367" y="2240"/>
                    <a:pt x="1397" y="2300"/>
                  </a:cubicBezTo>
                  <a:cubicBezTo>
                    <a:pt x="1427" y="2361"/>
                    <a:pt x="1452" y="2422"/>
                    <a:pt x="1500" y="2398"/>
                  </a:cubicBezTo>
                  <a:cubicBezTo>
                    <a:pt x="1549" y="2373"/>
                    <a:pt x="1494" y="2282"/>
                    <a:pt x="1543" y="2288"/>
                  </a:cubicBezTo>
                  <a:cubicBezTo>
                    <a:pt x="1591" y="2294"/>
                    <a:pt x="1646" y="2258"/>
                    <a:pt x="1670" y="2209"/>
                  </a:cubicBezTo>
                  <a:cubicBezTo>
                    <a:pt x="1695" y="2161"/>
                    <a:pt x="1676" y="2149"/>
                    <a:pt x="1676" y="2076"/>
                  </a:cubicBezTo>
                  <a:cubicBezTo>
                    <a:pt x="1676" y="2003"/>
                    <a:pt x="1810" y="1960"/>
                    <a:pt x="1828" y="2009"/>
                  </a:cubicBezTo>
                  <a:cubicBezTo>
                    <a:pt x="1847" y="2057"/>
                    <a:pt x="1926" y="1978"/>
                    <a:pt x="1980" y="1948"/>
                  </a:cubicBezTo>
                  <a:cubicBezTo>
                    <a:pt x="2035" y="1918"/>
                    <a:pt x="2053" y="1948"/>
                    <a:pt x="2023" y="1978"/>
                  </a:cubicBezTo>
                  <a:cubicBezTo>
                    <a:pt x="1992" y="2009"/>
                    <a:pt x="2005" y="2064"/>
                    <a:pt x="2071" y="2100"/>
                  </a:cubicBezTo>
                  <a:cubicBezTo>
                    <a:pt x="2138" y="2136"/>
                    <a:pt x="2162" y="2197"/>
                    <a:pt x="2096" y="2203"/>
                  </a:cubicBezTo>
                  <a:cubicBezTo>
                    <a:pt x="2077" y="2205"/>
                    <a:pt x="2058" y="2203"/>
                    <a:pt x="2039" y="2199"/>
                  </a:cubicBezTo>
                  <a:close/>
                  <a:moveTo>
                    <a:pt x="2597" y="722"/>
                  </a:moveTo>
                  <a:lnTo>
                    <a:pt x="2597" y="474"/>
                  </a:lnTo>
                  <a:lnTo>
                    <a:pt x="2598" y="473"/>
                  </a:lnTo>
                  <a:cubicBezTo>
                    <a:pt x="2695" y="453"/>
                    <a:pt x="2653" y="302"/>
                    <a:pt x="2791" y="302"/>
                  </a:cubicBezTo>
                  <a:cubicBezTo>
                    <a:pt x="2928" y="302"/>
                    <a:pt x="2846" y="226"/>
                    <a:pt x="3004" y="267"/>
                  </a:cubicBezTo>
                  <a:cubicBezTo>
                    <a:pt x="3093" y="260"/>
                    <a:pt x="3017" y="370"/>
                    <a:pt x="2942" y="370"/>
                  </a:cubicBezTo>
                  <a:cubicBezTo>
                    <a:pt x="2866" y="370"/>
                    <a:pt x="2688" y="521"/>
                    <a:pt x="2667" y="597"/>
                  </a:cubicBezTo>
                  <a:cubicBezTo>
                    <a:pt x="2649" y="665"/>
                    <a:pt x="2652" y="756"/>
                    <a:pt x="2597" y="722"/>
                  </a:cubicBezTo>
                  <a:moveTo>
                    <a:pt x="2597" y="1076"/>
                  </a:moveTo>
                  <a:cubicBezTo>
                    <a:pt x="2664" y="978"/>
                    <a:pt x="2714" y="894"/>
                    <a:pt x="2618" y="873"/>
                  </a:cubicBezTo>
                  <a:cubicBezTo>
                    <a:pt x="2614" y="872"/>
                    <a:pt x="2610" y="871"/>
                    <a:pt x="2606" y="870"/>
                  </a:cubicBezTo>
                  <a:lnTo>
                    <a:pt x="2597" y="872"/>
                  </a:lnTo>
                  <a:lnTo>
                    <a:pt x="2597" y="1076"/>
                  </a:lnTo>
                  <a:close/>
                  <a:moveTo>
                    <a:pt x="2597" y="1752"/>
                  </a:moveTo>
                  <a:cubicBezTo>
                    <a:pt x="2640" y="1712"/>
                    <a:pt x="2648" y="1639"/>
                    <a:pt x="2597" y="1624"/>
                  </a:cubicBezTo>
                  <a:lnTo>
                    <a:pt x="2597" y="175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r" defTabSz="914400" rtl="1"/>
              <a:endParaRPr lang="en-US"/>
            </a:p>
          </p:txBody>
        </p:sp>
        <p:sp>
          <p:nvSpPr>
            <p:cNvPr id="28" name="Freeform 190">
              <a:extLst>
                <a:ext uri="{FF2B5EF4-FFF2-40B4-BE49-F238E27FC236}">
                  <a16:creationId xmlns:a16="http://schemas.microsoft.com/office/drawing/2014/main" id="{36FD518F-E361-4C5B-A9D2-886705F31CC8}"/>
                </a:ext>
              </a:extLst>
            </p:cNvPr>
            <p:cNvSpPr>
              <a:spLocks noEditPoints="1"/>
            </p:cNvSpPr>
            <p:nvPr/>
          </p:nvSpPr>
          <p:spPr bwMode="auto">
            <a:xfrm>
              <a:off x="7916863" y="3602038"/>
              <a:ext cx="1177925" cy="1111250"/>
            </a:xfrm>
            <a:custGeom>
              <a:avLst/>
              <a:gdLst>
                <a:gd name="T0" fmla="*/ 1980 w 2296"/>
                <a:gd name="T1" fmla="*/ 28 h 2168"/>
                <a:gd name="T2" fmla="*/ 1949 w 2296"/>
                <a:gd name="T3" fmla="*/ 10 h 2168"/>
                <a:gd name="T4" fmla="*/ 1930 w 2296"/>
                <a:gd name="T5" fmla="*/ 930 h 2168"/>
                <a:gd name="T6" fmla="*/ 1776 w 2296"/>
                <a:gd name="T7" fmla="*/ 995 h 2168"/>
                <a:gd name="T8" fmla="*/ 1776 w 2296"/>
                <a:gd name="T9" fmla="*/ 995 h 2168"/>
                <a:gd name="T10" fmla="*/ 1142 w 2296"/>
                <a:gd name="T11" fmla="*/ 1878 h 2168"/>
                <a:gd name="T12" fmla="*/ 1157 w 2296"/>
                <a:gd name="T13" fmla="*/ 1781 h 2168"/>
                <a:gd name="T14" fmla="*/ 1466 w 2296"/>
                <a:gd name="T15" fmla="*/ 1234 h 2168"/>
                <a:gd name="T16" fmla="*/ 1435 w 2296"/>
                <a:gd name="T17" fmla="*/ 1216 h 2168"/>
                <a:gd name="T18" fmla="*/ 979 w 2296"/>
                <a:gd name="T19" fmla="*/ 740 h 2168"/>
                <a:gd name="T20" fmla="*/ 1347 w 2296"/>
                <a:gd name="T21" fmla="*/ 1148 h 2168"/>
                <a:gd name="T22" fmla="*/ 1129 w 2296"/>
                <a:gd name="T23" fmla="*/ 1739 h 2168"/>
                <a:gd name="T24" fmla="*/ 829 w 2296"/>
                <a:gd name="T25" fmla="*/ 1488 h 2168"/>
                <a:gd name="T26" fmla="*/ 518 w 2296"/>
                <a:gd name="T27" fmla="*/ 1456 h 2168"/>
                <a:gd name="T28" fmla="*/ 235 w 2296"/>
                <a:gd name="T29" fmla="*/ 1541 h 2168"/>
                <a:gd name="T30" fmla="*/ 93 w 2296"/>
                <a:gd name="T31" fmla="*/ 1403 h 2168"/>
                <a:gd name="T32" fmla="*/ 137 w 2296"/>
                <a:gd name="T33" fmla="*/ 1003 h 2168"/>
                <a:gd name="T34" fmla="*/ 372 w 2296"/>
                <a:gd name="T35" fmla="*/ 877 h 2168"/>
                <a:gd name="T36" fmla="*/ 566 w 2296"/>
                <a:gd name="T37" fmla="*/ 833 h 2168"/>
                <a:gd name="T38" fmla="*/ 712 w 2296"/>
                <a:gd name="T39" fmla="*/ 691 h 2168"/>
                <a:gd name="T40" fmla="*/ 918 w 2296"/>
                <a:gd name="T41" fmla="*/ 902 h 2168"/>
                <a:gd name="T42" fmla="*/ 434 w 2296"/>
                <a:gd name="T43" fmla="*/ 595 h 2168"/>
                <a:gd name="T44" fmla="*/ 403 w 2296"/>
                <a:gd name="T45" fmla="*/ 577 h 2168"/>
                <a:gd name="T46" fmla="*/ 1712 w 2296"/>
                <a:gd name="T47" fmla="*/ 713 h 2168"/>
                <a:gd name="T48" fmla="*/ 1514 w 2296"/>
                <a:gd name="T49" fmla="*/ 544 h 2168"/>
                <a:gd name="T50" fmla="*/ 1514 w 2296"/>
                <a:gd name="T51" fmla="*/ 544 h 2168"/>
                <a:gd name="T52" fmla="*/ 1430 w 2296"/>
                <a:gd name="T53" fmla="*/ 476 h 2168"/>
                <a:gd name="T54" fmla="*/ 842 w 2296"/>
                <a:gd name="T55" fmla="*/ 350 h 2168"/>
                <a:gd name="T56" fmla="*/ 1066 w 2296"/>
                <a:gd name="T57" fmla="*/ 558 h 2168"/>
                <a:gd name="T58" fmla="*/ 1163 w 2296"/>
                <a:gd name="T59" fmla="*/ 447 h 2168"/>
                <a:gd name="T60" fmla="*/ 842 w 2296"/>
                <a:gd name="T61" fmla="*/ 350 h 2168"/>
                <a:gd name="T62" fmla="*/ 2045 w 2296"/>
                <a:gd name="T63" fmla="*/ 1928 h 2168"/>
                <a:gd name="T64" fmla="*/ 1861 w 2296"/>
                <a:gd name="T65" fmla="*/ 2099 h 2168"/>
                <a:gd name="T66" fmla="*/ 1934 w 2296"/>
                <a:gd name="T67" fmla="*/ 1905 h 2168"/>
                <a:gd name="T68" fmla="*/ 2045 w 2296"/>
                <a:gd name="T69" fmla="*/ 1797 h 2168"/>
                <a:gd name="T70" fmla="*/ 2045 w 2296"/>
                <a:gd name="T71" fmla="*/ 1660 h 2168"/>
                <a:gd name="T72" fmla="*/ 2045 w 2296"/>
                <a:gd name="T73" fmla="*/ 1532 h 2168"/>
                <a:gd name="T74" fmla="*/ 736 w 2296"/>
                <a:gd name="T75" fmla="*/ 423 h 2168"/>
                <a:gd name="T76" fmla="*/ 2261 w 2296"/>
                <a:gd name="T77" fmla="*/ 844 h 2168"/>
                <a:gd name="T78" fmla="*/ 2255 w 2296"/>
                <a:gd name="T79" fmla="*/ 884 h 2168"/>
                <a:gd name="T80" fmla="*/ 2180 w 2296"/>
                <a:gd name="T81" fmla="*/ 872 h 2168"/>
                <a:gd name="T82" fmla="*/ 2174 w 2296"/>
                <a:gd name="T83" fmla="*/ 912 h 2168"/>
                <a:gd name="T84" fmla="*/ 2045 w 2296"/>
                <a:gd name="T85" fmla="*/ 1660 h 2168"/>
                <a:gd name="T86" fmla="*/ 2137 w 2296"/>
                <a:gd name="T87" fmla="*/ 1824 h 2168"/>
                <a:gd name="T88" fmla="*/ 2045 w 2296"/>
                <a:gd name="T89" fmla="*/ 1532 h 2168"/>
                <a:gd name="T90" fmla="*/ 2045 w 2296"/>
                <a:gd name="T91" fmla="*/ 1928 h 2168"/>
                <a:gd name="T92" fmla="*/ 2045 w 2296"/>
                <a:gd name="T93" fmla="*/ 1928 h 2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96" h="2168">
                  <a:moveTo>
                    <a:pt x="1949" y="10"/>
                  </a:moveTo>
                  <a:cubicBezTo>
                    <a:pt x="1969" y="0"/>
                    <a:pt x="1984" y="9"/>
                    <a:pt x="1980" y="28"/>
                  </a:cubicBezTo>
                  <a:cubicBezTo>
                    <a:pt x="1976" y="48"/>
                    <a:pt x="1960" y="71"/>
                    <a:pt x="1943" y="50"/>
                  </a:cubicBezTo>
                  <a:cubicBezTo>
                    <a:pt x="1926" y="30"/>
                    <a:pt x="1927" y="17"/>
                    <a:pt x="1949" y="10"/>
                  </a:cubicBezTo>
                  <a:close/>
                  <a:moveTo>
                    <a:pt x="1869" y="837"/>
                  </a:moveTo>
                  <a:cubicBezTo>
                    <a:pt x="1922" y="841"/>
                    <a:pt x="1987" y="930"/>
                    <a:pt x="1930" y="930"/>
                  </a:cubicBezTo>
                  <a:cubicBezTo>
                    <a:pt x="1874" y="930"/>
                    <a:pt x="1821" y="841"/>
                    <a:pt x="1869" y="837"/>
                  </a:cubicBezTo>
                  <a:close/>
                  <a:moveTo>
                    <a:pt x="1776" y="995"/>
                  </a:moveTo>
                  <a:cubicBezTo>
                    <a:pt x="1829" y="995"/>
                    <a:pt x="1914" y="1076"/>
                    <a:pt x="1841" y="1080"/>
                  </a:cubicBezTo>
                  <a:cubicBezTo>
                    <a:pt x="1768" y="1084"/>
                    <a:pt x="1695" y="995"/>
                    <a:pt x="1776" y="995"/>
                  </a:cubicBezTo>
                  <a:close/>
                  <a:moveTo>
                    <a:pt x="1157" y="1781"/>
                  </a:moveTo>
                  <a:cubicBezTo>
                    <a:pt x="1104" y="1796"/>
                    <a:pt x="1101" y="1828"/>
                    <a:pt x="1142" y="1878"/>
                  </a:cubicBezTo>
                  <a:cubicBezTo>
                    <a:pt x="1183" y="1928"/>
                    <a:pt x="1223" y="1872"/>
                    <a:pt x="1233" y="1825"/>
                  </a:cubicBezTo>
                  <a:cubicBezTo>
                    <a:pt x="1242" y="1778"/>
                    <a:pt x="1204" y="1756"/>
                    <a:pt x="1157" y="1781"/>
                  </a:cubicBezTo>
                  <a:close/>
                  <a:moveTo>
                    <a:pt x="1435" y="1216"/>
                  </a:moveTo>
                  <a:cubicBezTo>
                    <a:pt x="1455" y="1206"/>
                    <a:pt x="1470" y="1215"/>
                    <a:pt x="1466" y="1234"/>
                  </a:cubicBezTo>
                  <a:cubicBezTo>
                    <a:pt x="1463" y="1254"/>
                    <a:pt x="1446" y="1277"/>
                    <a:pt x="1429" y="1256"/>
                  </a:cubicBezTo>
                  <a:cubicBezTo>
                    <a:pt x="1412" y="1235"/>
                    <a:pt x="1414" y="1223"/>
                    <a:pt x="1435" y="1216"/>
                  </a:cubicBezTo>
                  <a:close/>
                  <a:moveTo>
                    <a:pt x="918" y="902"/>
                  </a:moveTo>
                  <a:cubicBezTo>
                    <a:pt x="983" y="898"/>
                    <a:pt x="979" y="796"/>
                    <a:pt x="979" y="740"/>
                  </a:cubicBezTo>
                  <a:cubicBezTo>
                    <a:pt x="979" y="683"/>
                    <a:pt x="1068" y="667"/>
                    <a:pt x="1088" y="772"/>
                  </a:cubicBezTo>
                  <a:cubicBezTo>
                    <a:pt x="1109" y="877"/>
                    <a:pt x="1283" y="1096"/>
                    <a:pt x="1347" y="1148"/>
                  </a:cubicBezTo>
                  <a:cubicBezTo>
                    <a:pt x="1412" y="1201"/>
                    <a:pt x="1400" y="1359"/>
                    <a:pt x="1364" y="1464"/>
                  </a:cubicBezTo>
                  <a:cubicBezTo>
                    <a:pt x="1327" y="1569"/>
                    <a:pt x="1222" y="1788"/>
                    <a:pt x="1129" y="1739"/>
                  </a:cubicBezTo>
                  <a:cubicBezTo>
                    <a:pt x="1036" y="1691"/>
                    <a:pt x="979" y="1727"/>
                    <a:pt x="927" y="1650"/>
                  </a:cubicBezTo>
                  <a:cubicBezTo>
                    <a:pt x="874" y="1573"/>
                    <a:pt x="854" y="1448"/>
                    <a:pt x="829" y="1488"/>
                  </a:cubicBezTo>
                  <a:cubicBezTo>
                    <a:pt x="805" y="1529"/>
                    <a:pt x="862" y="1553"/>
                    <a:pt x="744" y="1480"/>
                  </a:cubicBezTo>
                  <a:cubicBezTo>
                    <a:pt x="627" y="1407"/>
                    <a:pt x="558" y="1448"/>
                    <a:pt x="518" y="1456"/>
                  </a:cubicBezTo>
                  <a:cubicBezTo>
                    <a:pt x="477" y="1464"/>
                    <a:pt x="380" y="1420"/>
                    <a:pt x="364" y="1480"/>
                  </a:cubicBezTo>
                  <a:cubicBezTo>
                    <a:pt x="348" y="1541"/>
                    <a:pt x="287" y="1545"/>
                    <a:pt x="235" y="1541"/>
                  </a:cubicBezTo>
                  <a:cubicBezTo>
                    <a:pt x="182" y="1537"/>
                    <a:pt x="141" y="1586"/>
                    <a:pt x="105" y="1561"/>
                  </a:cubicBezTo>
                  <a:cubicBezTo>
                    <a:pt x="69" y="1537"/>
                    <a:pt x="133" y="1497"/>
                    <a:pt x="93" y="1403"/>
                  </a:cubicBezTo>
                  <a:cubicBezTo>
                    <a:pt x="52" y="1310"/>
                    <a:pt x="56" y="1209"/>
                    <a:pt x="28" y="1161"/>
                  </a:cubicBezTo>
                  <a:cubicBezTo>
                    <a:pt x="0" y="1112"/>
                    <a:pt x="36" y="1007"/>
                    <a:pt x="137" y="1003"/>
                  </a:cubicBezTo>
                  <a:cubicBezTo>
                    <a:pt x="239" y="999"/>
                    <a:pt x="299" y="979"/>
                    <a:pt x="299" y="942"/>
                  </a:cubicBezTo>
                  <a:cubicBezTo>
                    <a:pt x="299" y="906"/>
                    <a:pt x="279" y="877"/>
                    <a:pt x="372" y="877"/>
                  </a:cubicBezTo>
                  <a:cubicBezTo>
                    <a:pt x="465" y="877"/>
                    <a:pt x="368" y="764"/>
                    <a:pt x="461" y="764"/>
                  </a:cubicBezTo>
                  <a:cubicBezTo>
                    <a:pt x="554" y="764"/>
                    <a:pt x="526" y="849"/>
                    <a:pt x="566" y="833"/>
                  </a:cubicBezTo>
                  <a:cubicBezTo>
                    <a:pt x="607" y="817"/>
                    <a:pt x="574" y="740"/>
                    <a:pt x="627" y="740"/>
                  </a:cubicBezTo>
                  <a:cubicBezTo>
                    <a:pt x="680" y="740"/>
                    <a:pt x="664" y="667"/>
                    <a:pt x="712" y="691"/>
                  </a:cubicBezTo>
                  <a:cubicBezTo>
                    <a:pt x="761" y="715"/>
                    <a:pt x="789" y="752"/>
                    <a:pt x="805" y="817"/>
                  </a:cubicBezTo>
                  <a:cubicBezTo>
                    <a:pt x="821" y="881"/>
                    <a:pt x="825" y="894"/>
                    <a:pt x="918" y="902"/>
                  </a:cubicBezTo>
                  <a:moveTo>
                    <a:pt x="403" y="577"/>
                  </a:moveTo>
                  <a:cubicBezTo>
                    <a:pt x="423" y="566"/>
                    <a:pt x="438" y="575"/>
                    <a:pt x="434" y="595"/>
                  </a:cubicBezTo>
                  <a:cubicBezTo>
                    <a:pt x="431" y="614"/>
                    <a:pt x="414" y="637"/>
                    <a:pt x="397" y="617"/>
                  </a:cubicBezTo>
                  <a:cubicBezTo>
                    <a:pt x="380" y="596"/>
                    <a:pt x="382" y="583"/>
                    <a:pt x="403" y="577"/>
                  </a:cubicBezTo>
                  <a:close/>
                  <a:moveTo>
                    <a:pt x="1664" y="645"/>
                  </a:moveTo>
                  <a:cubicBezTo>
                    <a:pt x="1693" y="645"/>
                    <a:pt x="1765" y="713"/>
                    <a:pt x="1712" y="713"/>
                  </a:cubicBezTo>
                  <a:cubicBezTo>
                    <a:pt x="1659" y="713"/>
                    <a:pt x="1601" y="645"/>
                    <a:pt x="1664" y="645"/>
                  </a:cubicBezTo>
                  <a:close/>
                  <a:moveTo>
                    <a:pt x="1514" y="544"/>
                  </a:moveTo>
                  <a:cubicBezTo>
                    <a:pt x="1567" y="535"/>
                    <a:pt x="1696" y="600"/>
                    <a:pt x="1633" y="607"/>
                  </a:cubicBezTo>
                  <a:cubicBezTo>
                    <a:pt x="1569" y="614"/>
                    <a:pt x="1435" y="564"/>
                    <a:pt x="1514" y="544"/>
                  </a:cubicBezTo>
                  <a:close/>
                  <a:moveTo>
                    <a:pt x="1343" y="386"/>
                  </a:moveTo>
                  <a:cubicBezTo>
                    <a:pt x="1374" y="386"/>
                    <a:pt x="1490" y="476"/>
                    <a:pt x="1430" y="476"/>
                  </a:cubicBezTo>
                  <a:cubicBezTo>
                    <a:pt x="1369" y="476"/>
                    <a:pt x="1279" y="379"/>
                    <a:pt x="1343" y="386"/>
                  </a:cubicBezTo>
                  <a:close/>
                  <a:moveTo>
                    <a:pt x="842" y="350"/>
                  </a:moveTo>
                  <a:cubicBezTo>
                    <a:pt x="781" y="355"/>
                    <a:pt x="881" y="516"/>
                    <a:pt x="937" y="574"/>
                  </a:cubicBezTo>
                  <a:cubicBezTo>
                    <a:pt x="980" y="632"/>
                    <a:pt x="1027" y="568"/>
                    <a:pt x="1066" y="558"/>
                  </a:cubicBezTo>
                  <a:cubicBezTo>
                    <a:pt x="1105" y="547"/>
                    <a:pt x="1124" y="582"/>
                    <a:pt x="1202" y="595"/>
                  </a:cubicBezTo>
                  <a:cubicBezTo>
                    <a:pt x="1279" y="608"/>
                    <a:pt x="1157" y="495"/>
                    <a:pt x="1163" y="447"/>
                  </a:cubicBezTo>
                  <a:cubicBezTo>
                    <a:pt x="1168" y="400"/>
                    <a:pt x="1080" y="376"/>
                    <a:pt x="1036" y="381"/>
                  </a:cubicBezTo>
                  <a:cubicBezTo>
                    <a:pt x="991" y="386"/>
                    <a:pt x="889" y="344"/>
                    <a:pt x="842" y="350"/>
                  </a:cubicBezTo>
                  <a:close/>
                  <a:moveTo>
                    <a:pt x="2045" y="1797"/>
                  </a:moveTo>
                  <a:lnTo>
                    <a:pt x="2045" y="1928"/>
                  </a:lnTo>
                  <a:lnTo>
                    <a:pt x="2043" y="1930"/>
                  </a:lnTo>
                  <a:cubicBezTo>
                    <a:pt x="1995" y="1982"/>
                    <a:pt x="1878" y="2031"/>
                    <a:pt x="1861" y="2099"/>
                  </a:cubicBezTo>
                  <a:cubicBezTo>
                    <a:pt x="1845" y="2168"/>
                    <a:pt x="1829" y="2035"/>
                    <a:pt x="1817" y="1998"/>
                  </a:cubicBezTo>
                  <a:cubicBezTo>
                    <a:pt x="1805" y="1962"/>
                    <a:pt x="1861" y="1921"/>
                    <a:pt x="1934" y="1905"/>
                  </a:cubicBezTo>
                  <a:cubicBezTo>
                    <a:pt x="2007" y="1889"/>
                    <a:pt x="1934" y="1808"/>
                    <a:pt x="2035" y="1796"/>
                  </a:cubicBezTo>
                  <a:cubicBezTo>
                    <a:pt x="2039" y="1796"/>
                    <a:pt x="2042" y="1796"/>
                    <a:pt x="2045" y="1797"/>
                  </a:cubicBezTo>
                  <a:close/>
                  <a:moveTo>
                    <a:pt x="2045" y="1532"/>
                  </a:moveTo>
                  <a:lnTo>
                    <a:pt x="2045" y="1660"/>
                  </a:lnTo>
                  <a:cubicBezTo>
                    <a:pt x="2021" y="1601"/>
                    <a:pt x="1989" y="1539"/>
                    <a:pt x="2031" y="1533"/>
                  </a:cubicBezTo>
                  <a:cubicBezTo>
                    <a:pt x="2036" y="1532"/>
                    <a:pt x="2041" y="1531"/>
                    <a:pt x="2045" y="1532"/>
                  </a:cubicBezTo>
                  <a:close/>
                  <a:moveTo>
                    <a:pt x="689" y="355"/>
                  </a:moveTo>
                  <a:cubicBezTo>
                    <a:pt x="718" y="355"/>
                    <a:pt x="789" y="423"/>
                    <a:pt x="736" y="423"/>
                  </a:cubicBezTo>
                  <a:cubicBezTo>
                    <a:pt x="683" y="423"/>
                    <a:pt x="625" y="355"/>
                    <a:pt x="689" y="355"/>
                  </a:cubicBezTo>
                  <a:close/>
                  <a:moveTo>
                    <a:pt x="2261" y="844"/>
                  </a:moveTo>
                  <a:cubicBezTo>
                    <a:pt x="2280" y="834"/>
                    <a:pt x="2296" y="843"/>
                    <a:pt x="2292" y="862"/>
                  </a:cubicBezTo>
                  <a:cubicBezTo>
                    <a:pt x="2288" y="881"/>
                    <a:pt x="2271" y="904"/>
                    <a:pt x="2255" y="884"/>
                  </a:cubicBezTo>
                  <a:cubicBezTo>
                    <a:pt x="2238" y="863"/>
                    <a:pt x="2239" y="850"/>
                    <a:pt x="2261" y="844"/>
                  </a:cubicBezTo>
                  <a:close/>
                  <a:moveTo>
                    <a:pt x="2180" y="872"/>
                  </a:moveTo>
                  <a:cubicBezTo>
                    <a:pt x="2199" y="862"/>
                    <a:pt x="2215" y="871"/>
                    <a:pt x="2211" y="890"/>
                  </a:cubicBezTo>
                  <a:cubicBezTo>
                    <a:pt x="2207" y="910"/>
                    <a:pt x="2190" y="933"/>
                    <a:pt x="2174" y="912"/>
                  </a:cubicBezTo>
                  <a:cubicBezTo>
                    <a:pt x="2157" y="892"/>
                    <a:pt x="2158" y="879"/>
                    <a:pt x="2180" y="872"/>
                  </a:cubicBezTo>
                  <a:close/>
                  <a:moveTo>
                    <a:pt x="2045" y="1660"/>
                  </a:moveTo>
                  <a:cubicBezTo>
                    <a:pt x="2053" y="1681"/>
                    <a:pt x="2061" y="1701"/>
                    <a:pt x="2064" y="1719"/>
                  </a:cubicBezTo>
                  <a:cubicBezTo>
                    <a:pt x="2076" y="1788"/>
                    <a:pt x="2088" y="1808"/>
                    <a:pt x="2137" y="1824"/>
                  </a:cubicBezTo>
                  <a:cubicBezTo>
                    <a:pt x="2185" y="1841"/>
                    <a:pt x="2226" y="1707"/>
                    <a:pt x="2157" y="1679"/>
                  </a:cubicBezTo>
                  <a:cubicBezTo>
                    <a:pt x="2092" y="1652"/>
                    <a:pt x="2106" y="1533"/>
                    <a:pt x="2045" y="1532"/>
                  </a:cubicBezTo>
                  <a:lnTo>
                    <a:pt x="2045" y="1660"/>
                  </a:lnTo>
                  <a:close/>
                  <a:moveTo>
                    <a:pt x="2045" y="1928"/>
                  </a:moveTo>
                  <a:lnTo>
                    <a:pt x="2045" y="1797"/>
                  </a:lnTo>
                  <a:cubicBezTo>
                    <a:pt x="2091" y="1805"/>
                    <a:pt x="2089" y="1879"/>
                    <a:pt x="2045" y="192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p>
          </p:txBody>
        </p:sp>
      </p:grpSp>
      <p:sp>
        <p:nvSpPr>
          <p:cNvPr id="4" name="Title 3">
            <a:extLst>
              <a:ext uri="{FF2B5EF4-FFF2-40B4-BE49-F238E27FC236}">
                <a16:creationId xmlns:a16="http://schemas.microsoft.com/office/drawing/2014/main" id="{19AE2138-A0DC-5FDA-B996-E969154027CB}"/>
              </a:ext>
            </a:extLst>
          </p:cNvPr>
          <p:cNvSpPr>
            <a:spLocks noGrp="1"/>
          </p:cNvSpPr>
          <p:nvPr>
            <p:ph type="title"/>
          </p:nvPr>
        </p:nvSpPr>
        <p:spPr/>
        <p:txBody>
          <a:bodyPr/>
          <a:lstStyle/>
          <a:p>
            <a:r>
              <a:rPr lang="en-IL"/>
              <a:t>UGW </a:t>
            </a:r>
            <a:r>
              <a:rPr lang="en-US"/>
              <a:t>Current Point of Present – 20 </a:t>
            </a:r>
            <a:r>
              <a:rPr lang="en-US" err="1"/>
              <a:t>PoP</a:t>
            </a:r>
            <a:r>
              <a:rPr lang="en-US"/>
              <a:t> </a:t>
            </a:r>
            <a:r>
              <a:rPr lang="en-US" sz="1800"/>
              <a:t>(Updated: May 20</a:t>
            </a:r>
            <a:r>
              <a:rPr lang="en-IL" sz="1800"/>
              <a:t>2</a:t>
            </a:r>
            <a:r>
              <a:rPr lang="en-US" sz="1800"/>
              <a:t>5)</a:t>
            </a:r>
            <a:endParaRPr lang="en-IL"/>
          </a:p>
        </p:txBody>
      </p:sp>
      <p:sp>
        <p:nvSpPr>
          <p:cNvPr id="20" name="Callout: Bent Line 19">
            <a:extLst>
              <a:ext uri="{FF2B5EF4-FFF2-40B4-BE49-F238E27FC236}">
                <a16:creationId xmlns:a16="http://schemas.microsoft.com/office/drawing/2014/main" id="{D5E14C5E-1950-4BFF-B475-6C794FE08ECE}"/>
              </a:ext>
            </a:extLst>
          </p:cNvPr>
          <p:cNvSpPr/>
          <p:nvPr/>
        </p:nvSpPr>
        <p:spPr bwMode="gray">
          <a:xfrm>
            <a:off x="3923133" y="3788375"/>
            <a:ext cx="576000" cy="216000"/>
          </a:xfrm>
          <a:prstGeom prst="borderCallout2">
            <a:avLst>
              <a:gd name="adj1" fmla="val 18750"/>
              <a:gd name="adj2" fmla="val -2272"/>
              <a:gd name="adj3" fmla="val 18750"/>
              <a:gd name="adj4" fmla="val -16667"/>
              <a:gd name="adj5" fmla="val 68853"/>
              <a:gd name="adj6" fmla="val -76074"/>
            </a:avLst>
          </a:prstGeom>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fontAlgn="base">
              <a:spcAft>
                <a:spcPct val="0"/>
              </a:spcAft>
              <a:buClr>
                <a:srgbClr val="F0AB00"/>
              </a:buClr>
              <a:buSzPct val="80000"/>
            </a:pPr>
            <a:r>
              <a:rPr lang="en-US" sz="1050" b="1" kern="0">
                <a:solidFill>
                  <a:schemeClr val="tx1"/>
                </a:solidFill>
                <a:ea typeface="Arial Unicode MS" pitchFamily="34" charset="-128"/>
              </a:rPr>
              <a:t>AWS</a:t>
            </a:r>
          </a:p>
        </p:txBody>
      </p:sp>
      <p:sp>
        <p:nvSpPr>
          <p:cNvPr id="153" name="Callout: Bent Line 152">
            <a:extLst>
              <a:ext uri="{FF2B5EF4-FFF2-40B4-BE49-F238E27FC236}">
                <a16:creationId xmlns:a16="http://schemas.microsoft.com/office/drawing/2014/main" id="{51856876-77D9-46DE-AD46-D3301267FFDF}"/>
              </a:ext>
            </a:extLst>
          </p:cNvPr>
          <p:cNvSpPr/>
          <p:nvPr/>
        </p:nvSpPr>
        <p:spPr bwMode="gray">
          <a:xfrm>
            <a:off x="5844645" y="3145991"/>
            <a:ext cx="576000" cy="216000"/>
          </a:xfrm>
          <a:prstGeom prst="borderCallout2">
            <a:avLst>
              <a:gd name="adj1" fmla="val 18750"/>
              <a:gd name="adj2" fmla="val -2272"/>
              <a:gd name="adj3" fmla="val 18750"/>
              <a:gd name="adj4" fmla="val -16667"/>
              <a:gd name="adj5" fmla="val 216174"/>
              <a:gd name="adj6" fmla="val -38568"/>
            </a:avLst>
          </a:prstGeom>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fontAlgn="base">
              <a:spcAft>
                <a:spcPct val="0"/>
              </a:spcAft>
              <a:buClr>
                <a:srgbClr val="F0AB00"/>
              </a:buClr>
              <a:buSzPct val="80000"/>
            </a:pPr>
            <a:r>
              <a:rPr lang="en-US" sz="1050" b="1" kern="0">
                <a:solidFill>
                  <a:schemeClr val="tx1"/>
                </a:solidFill>
                <a:ea typeface="Arial Unicode MS" pitchFamily="34" charset="-128"/>
              </a:rPr>
              <a:t>Azure</a:t>
            </a:r>
          </a:p>
        </p:txBody>
      </p:sp>
      <p:sp>
        <p:nvSpPr>
          <p:cNvPr id="155" name="Callout: Bent Line 154">
            <a:extLst>
              <a:ext uri="{FF2B5EF4-FFF2-40B4-BE49-F238E27FC236}">
                <a16:creationId xmlns:a16="http://schemas.microsoft.com/office/drawing/2014/main" id="{F036A28C-0629-4409-897E-5120D49B091D}"/>
              </a:ext>
            </a:extLst>
          </p:cNvPr>
          <p:cNvSpPr/>
          <p:nvPr/>
        </p:nvSpPr>
        <p:spPr bwMode="gray">
          <a:xfrm>
            <a:off x="6119031" y="3589699"/>
            <a:ext cx="576000" cy="216000"/>
          </a:xfrm>
          <a:prstGeom prst="borderCallout2">
            <a:avLst>
              <a:gd name="adj1" fmla="val 18750"/>
              <a:gd name="adj2" fmla="val -2272"/>
              <a:gd name="adj3" fmla="val 18750"/>
              <a:gd name="adj4" fmla="val -16667"/>
              <a:gd name="adj5" fmla="val 113138"/>
              <a:gd name="adj6" fmla="val -83105"/>
            </a:avLst>
          </a:prstGeom>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fontAlgn="base">
              <a:spcAft>
                <a:spcPct val="0"/>
              </a:spcAft>
              <a:buClr>
                <a:srgbClr val="F0AB00"/>
              </a:buClr>
              <a:buSzPct val="80000"/>
            </a:pPr>
            <a:r>
              <a:rPr lang="en-US" sz="1050" b="1" kern="0">
                <a:solidFill>
                  <a:schemeClr val="tx1"/>
                </a:solidFill>
                <a:ea typeface="Arial Unicode MS" pitchFamily="34" charset="-128"/>
              </a:rPr>
              <a:t>AWS</a:t>
            </a:r>
          </a:p>
        </p:txBody>
      </p:sp>
      <p:sp>
        <p:nvSpPr>
          <p:cNvPr id="157" name="Callout: Bent Line 156">
            <a:extLst>
              <a:ext uri="{FF2B5EF4-FFF2-40B4-BE49-F238E27FC236}">
                <a16:creationId xmlns:a16="http://schemas.microsoft.com/office/drawing/2014/main" id="{AE2A75A7-1B7D-4041-B5E3-6B9861202F69}"/>
              </a:ext>
            </a:extLst>
          </p:cNvPr>
          <p:cNvSpPr/>
          <p:nvPr/>
        </p:nvSpPr>
        <p:spPr bwMode="gray">
          <a:xfrm>
            <a:off x="3895768" y="3436739"/>
            <a:ext cx="576000" cy="216000"/>
          </a:xfrm>
          <a:prstGeom prst="borderCallout2">
            <a:avLst>
              <a:gd name="adj1" fmla="val 18750"/>
              <a:gd name="adj2" fmla="val -2272"/>
              <a:gd name="adj3" fmla="val 18750"/>
              <a:gd name="adj4" fmla="val -16667"/>
              <a:gd name="adj5" fmla="val 112499"/>
              <a:gd name="adj6" fmla="val -49198"/>
            </a:avLst>
          </a:prstGeom>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fontAlgn="base">
              <a:spcAft>
                <a:spcPct val="0"/>
              </a:spcAft>
              <a:buClr>
                <a:srgbClr val="F0AB00"/>
              </a:buClr>
              <a:buSzPct val="80000"/>
            </a:pPr>
            <a:r>
              <a:rPr lang="en-US" sz="1050" b="1" kern="0">
                <a:solidFill>
                  <a:schemeClr val="tx1"/>
                </a:solidFill>
                <a:ea typeface="Arial Unicode MS" pitchFamily="34" charset="-128"/>
              </a:rPr>
              <a:t>AWS</a:t>
            </a:r>
          </a:p>
        </p:txBody>
      </p:sp>
      <p:sp>
        <p:nvSpPr>
          <p:cNvPr id="7" name="Callout: Bent Line 19">
            <a:extLst>
              <a:ext uri="{FF2B5EF4-FFF2-40B4-BE49-F238E27FC236}">
                <a16:creationId xmlns:a16="http://schemas.microsoft.com/office/drawing/2014/main" id="{821EC68C-29D5-97A1-670B-C5CE314218DF}"/>
              </a:ext>
            </a:extLst>
          </p:cNvPr>
          <p:cNvSpPr/>
          <p:nvPr/>
        </p:nvSpPr>
        <p:spPr bwMode="gray">
          <a:xfrm>
            <a:off x="3923133" y="4060762"/>
            <a:ext cx="576000" cy="216000"/>
          </a:xfrm>
          <a:prstGeom prst="borderCallout2">
            <a:avLst>
              <a:gd name="adj1" fmla="val 18750"/>
              <a:gd name="adj2" fmla="val -2272"/>
              <a:gd name="adj3" fmla="val 18750"/>
              <a:gd name="adj4" fmla="val -16667"/>
              <a:gd name="adj5" fmla="val -40009"/>
              <a:gd name="adj6" fmla="val -78884"/>
            </a:avLst>
          </a:prstGeom>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fontAlgn="base">
              <a:spcAft>
                <a:spcPct val="0"/>
              </a:spcAft>
              <a:buClr>
                <a:srgbClr val="F0AB00"/>
              </a:buClr>
              <a:buSzPct val="80000"/>
            </a:pPr>
            <a:r>
              <a:rPr lang="en-US" sz="1050" b="1" kern="0">
                <a:solidFill>
                  <a:schemeClr val="tx1"/>
                </a:solidFill>
                <a:ea typeface="Arial Unicode MS" pitchFamily="34" charset="-128"/>
              </a:rPr>
              <a:t>Azure</a:t>
            </a:r>
          </a:p>
        </p:txBody>
      </p:sp>
      <p:sp>
        <p:nvSpPr>
          <p:cNvPr id="6" name="Callout: Bent Line 5">
            <a:extLst>
              <a:ext uri="{FF2B5EF4-FFF2-40B4-BE49-F238E27FC236}">
                <a16:creationId xmlns:a16="http://schemas.microsoft.com/office/drawing/2014/main" id="{C71B7E02-CAFC-59A8-6F89-274F1F50B675}"/>
              </a:ext>
            </a:extLst>
          </p:cNvPr>
          <p:cNvSpPr/>
          <p:nvPr/>
        </p:nvSpPr>
        <p:spPr bwMode="gray">
          <a:xfrm>
            <a:off x="8222161" y="5112698"/>
            <a:ext cx="576000" cy="216000"/>
          </a:xfrm>
          <a:prstGeom prst="borderCallout2">
            <a:avLst>
              <a:gd name="adj1" fmla="val 18750"/>
              <a:gd name="adj2" fmla="val -2272"/>
              <a:gd name="adj3" fmla="val 18750"/>
              <a:gd name="adj4" fmla="val -16667"/>
              <a:gd name="adj5" fmla="val -38053"/>
              <a:gd name="adj6" fmla="val -50707"/>
            </a:avLst>
          </a:prstGeom>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fontAlgn="base">
              <a:spcAft>
                <a:spcPct val="0"/>
              </a:spcAft>
              <a:buClr>
                <a:srgbClr val="F0AB00"/>
              </a:buClr>
              <a:buSzPct val="80000"/>
            </a:pPr>
            <a:r>
              <a:rPr lang="en-US" sz="1050" b="1" kern="0">
                <a:solidFill>
                  <a:schemeClr val="tx1"/>
                </a:solidFill>
                <a:ea typeface="Arial Unicode MS" pitchFamily="34" charset="-128"/>
              </a:rPr>
              <a:t>AWS</a:t>
            </a:r>
          </a:p>
        </p:txBody>
      </p:sp>
      <p:sp>
        <p:nvSpPr>
          <p:cNvPr id="9" name="Callout: Bent Line 8">
            <a:extLst>
              <a:ext uri="{FF2B5EF4-FFF2-40B4-BE49-F238E27FC236}">
                <a16:creationId xmlns:a16="http://schemas.microsoft.com/office/drawing/2014/main" id="{62D6F44D-A5C6-94A9-DFB2-41F536A250B0}"/>
              </a:ext>
            </a:extLst>
          </p:cNvPr>
          <p:cNvSpPr/>
          <p:nvPr/>
        </p:nvSpPr>
        <p:spPr bwMode="gray">
          <a:xfrm>
            <a:off x="9177013" y="4192818"/>
            <a:ext cx="576000" cy="216000"/>
          </a:xfrm>
          <a:prstGeom prst="borderCallout2">
            <a:avLst>
              <a:gd name="adj1" fmla="val 18750"/>
              <a:gd name="adj2" fmla="val -2272"/>
              <a:gd name="adj3" fmla="val 18750"/>
              <a:gd name="adj4" fmla="val -16667"/>
              <a:gd name="adj5" fmla="val -38053"/>
              <a:gd name="adj6" fmla="val -50707"/>
            </a:avLst>
          </a:prstGeom>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fontAlgn="base">
              <a:spcAft>
                <a:spcPct val="0"/>
              </a:spcAft>
              <a:buClr>
                <a:srgbClr val="F0AB00"/>
              </a:buClr>
              <a:buSzPct val="80000"/>
            </a:pPr>
            <a:r>
              <a:rPr lang="en-US" sz="1050" b="1" kern="0">
                <a:solidFill>
                  <a:schemeClr val="tx1"/>
                </a:solidFill>
                <a:ea typeface="Arial Unicode MS" pitchFamily="34" charset="-128"/>
              </a:rPr>
              <a:t>AWS</a:t>
            </a:r>
          </a:p>
        </p:txBody>
      </p:sp>
      <p:sp>
        <p:nvSpPr>
          <p:cNvPr id="10" name="Callout: Bent Line 9">
            <a:extLst>
              <a:ext uri="{FF2B5EF4-FFF2-40B4-BE49-F238E27FC236}">
                <a16:creationId xmlns:a16="http://schemas.microsoft.com/office/drawing/2014/main" id="{08266B74-BAA8-4B5E-3361-BF20CAD64838}"/>
              </a:ext>
            </a:extLst>
          </p:cNvPr>
          <p:cNvSpPr/>
          <p:nvPr/>
        </p:nvSpPr>
        <p:spPr bwMode="gray">
          <a:xfrm>
            <a:off x="7111920" y="5271159"/>
            <a:ext cx="576000" cy="216000"/>
          </a:xfrm>
          <a:prstGeom prst="borderCallout2">
            <a:avLst>
              <a:gd name="adj1" fmla="val 14474"/>
              <a:gd name="adj2" fmla="val 101958"/>
              <a:gd name="adj3" fmla="val 14474"/>
              <a:gd name="adj4" fmla="val 121237"/>
              <a:gd name="adj5" fmla="val -16672"/>
              <a:gd name="adj6" fmla="val 136906"/>
            </a:avLst>
          </a:prstGeom>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fontAlgn="base">
              <a:spcAft>
                <a:spcPct val="0"/>
              </a:spcAft>
              <a:buClr>
                <a:srgbClr val="F0AB00"/>
              </a:buClr>
              <a:buSzPct val="80000"/>
            </a:pPr>
            <a:r>
              <a:rPr lang="en-US" sz="1050" b="1" kern="0">
                <a:solidFill>
                  <a:schemeClr val="tx1"/>
                </a:solidFill>
                <a:ea typeface="Arial Unicode MS" pitchFamily="34" charset="-128"/>
              </a:rPr>
              <a:t>AWS</a:t>
            </a:r>
          </a:p>
        </p:txBody>
      </p:sp>
      <p:sp>
        <p:nvSpPr>
          <p:cNvPr id="11" name="Callout: Bent Line 10">
            <a:extLst>
              <a:ext uri="{FF2B5EF4-FFF2-40B4-BE49-F238E27FC236}">
                <a16:creationId xmlns:a16="http://schemas.microsoft.com/office/drawing/2014/main" id="{A27C0CD4-1D79-F13F-7AAC-C086749E9934}"/>
              </a:ext>
            </a:extLst>
          </p:cNvPr>
          <p:cNvSpPr/>
          <p:nvPr/>
        </p:nvSpPr>
        <p:spPr bwMode="gray">
          <a:xfrm>
            <a:off x="9235997" y="5867424"/>
            <a:ext cx="576000" cy="216000"/>
          </a:xfrm>
          <a:prstGeom prst="borderCallout2">
            <a:avLst>
              <a:gd name="adj1" fmla="val 18750"/>
              <a:gd name="adj2" fmla="val -2272"/>
              <a:gd name="adj3" fmla="val 18750"/>
              <a:gd name="adj4" fmla="val -16667"/>
              <a:gd name="adj5" fmla="val -38052"/>
              <a:gd name="adj6" fmla="val -36275"/>
            </a:avLst>
          </a:prstGeom>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fontAlgn="base">
              <a:spcAft>
                <a:spcPct val="0"/>
              </a:spcAft>
              <a:buClr>
                <a:srgbClr val="F0AB00"/>
              </a:buClr>
              <a:buSzPct val="80000"/>
            </a:pPr>
            <a:r>
              <a:rPr lang="en-US" sz="1050" b="1" kern="0">
                <a:solidFill>
                  <a:schemeClr val="tx1"/>
                </a:solidFill>
                <a:ea typeface="Arial Unicode MS" pitchFamily="34" charset="-128"/>
              </a:rPr>
              <a:t>AWS</a:t>
            </a:r>
          </a:p>
        </p:txBody>
      </p:sp>
      <p:sp>
        <p:nvSpPr>
          <p:cNvPr id="15" name="Callout: Bent Line 19">
            <a:extLst>
              <a:ext uri="{FF2B5EF4-FFF2-40B4-BE49-F238E27FC236}">
                <a16:creationId xmlns:a16="http://schemas.microsoft.com/office/drawing/2014/main" id="{9D1CBFBD-14D4-0C84-715C-93DFA2863735}"/>
              </a:ext>
            </a:extLst>
          </p:cNvPr>
          <p:cNvSpPr/>
          <p:nvPr/>
        </p:nvSpPr>
        <p:spPr bwMode="gray">
          <a:xfrm>
            <a:off x="1813408" y="4307391"/>
            <a:ext cx="576000" cy="200041"/>
          </a:xfrm>
          <a:prstGeom prst="borderCallout2">
            <a:avLst>
              <a:gd name="adj1" fmla="val -3729"/>
              <a:gd name="adj2" fmla="val 69376"/>
              <a:gd name="adj3" fmla="val -26206"/>
              <a:gd name="adj4" fmla="val 95722"/>
              <a:gd name="adj5" fmla="val -148651"/>
              <a:gd name="adj6" fmla="val 102344"/>
            </a:avLst>
          </a:prstGeom>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fontAlgn="base">
              <a:spcAft>
                <a:spcPct val="0"/>
              </a:spcAft>
              <a:buClr>
                <a:srgbClr val="F0AB00"/>
              </a:buClr>
              <a:buSzPct val="80000"/>
            </a:pPr>
            <a:r>
              <a:rPr lang="en-US" sz="1050" b="1" kern="0">
                <a:solidFill>
                  <a:schemeClr val="tx1"/>
                </a:solidFill>
                <a:ea typeface="Arial Unicode MS" pitchFamily="34" charset="-128"/>
              </a:rPr>
              <a:t>Azure</a:t>
            </a:r>
          </a:p>
        </p:txBody>
      </p:sp>
      <p:sp>
        <p:nvSpPr>
          <p:cNvPr id="2" name="Callout: Bent Line 1">
            <a:extLst>
              <a:ext uri="{FF2B5EF4-FFF2-40B4-BE49-F238E27FC236}">
                <a16:creationId xmlns:a16="http://schemas.microsoft.com/office/drawing/2014/main" id="{DC8B531D-BDA6-247D-7193-09306A992113}"/>
              </a:ext>
            </a:extLst>
          </p:cNvPr>
          <p:cNvSpPr/>
          <p:nvPr/>
        </p:nvSpPr>
        <p:spPr bwMode="gray">
          <a:xfrm>
            <a:off x="2193015" y="3631555"/>
            <a:ext cx="576000" cy="216000"/>
          </a:xfrm>
          <a:prstGeom prst="borderCallout2">
            <a:avLst>
              <a:gd name="adj1" fmla="val 23070"/>
              <a:gd name="adj2" fmla="val 98162"/>
              <a:gd name="adj3" fmla="val 53307"/>
              <a:gd name="adj4" fmla="val 114544"/>
              <a:gd name="adj5" fmla="val 151377"/>
              <a:gd name="adj6" fmla="val 130611"/>
            </a:avLst>
          </a:prstGeom>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fontAlgn="base">
              <a:spcAft>
                <a:spcPct val="0"/>
              </a:spcAft>
              <a:buClr>
                <a:srgbClr val="F0AB00"/>
              </a:buClr>
              <a:buSzPct val="80000"/>
            </a:pPr>
            <a:r>
              <a:rPr lang="en-US" sz="1050" b="1" kern="0">
                <a:solidFill>
                  <a:schemeClr val="tx1"/>
                </a:solidFill>
                <a:ea typeface="Arial Unicode MS" pitchFamily="34" charset="-128"/>
              </a:rPr>
              <a:t>GCP</a:t>
            </a:r>
          </a:p>
        </p:txBody>
      </p:sp>
      <p:sp>
        <p:nvSpPr>
          <p:cNvPr id="3" name="Callout: Bent Line 2">
            <a:extLst>
              <a:ext uri="{FF2B5EF4-FFF2-40B4-BE49-F238E27FC236}">
                <a16:creationId xmlns:a16="http://schemas.microsoft.com/office/drawing/2014/main" id="{185FB342-A12C-29AD-CC44-8AC1C4034452}"/>
              </a:ext>
            </a:extLst>
          </p:cNvPr>
          <p:cNvSpPr/>
          <p:nvPr/>
        </p:nvSpPr>
        <p:spPr bwMode="gray">
          <a:xfrm>
            <a:off x="6150008" y="3888783"/>
            <a:ext cx="576000" cy="216000"/>
          </a:xfrm>
          <a:prstGeom prst="borderCallout2">
            <a:avLst>
              <a:gd name="adj1" fmla="val 23070"/>
              <a:gd name="adj2" fmla="val -652"/>
              <a:gd name="adj3" fmla="val -28768"/>
              <a:gd name="adj4" fmla="val -13428"/>
              <a:gd name="adj5" fmla="val -34373"/>
              <a:gd name="adj6" fmla="val -79976"/>
            </a:avLst>
          </a:prstGeom>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fontAlgn="base">
              <a:spcAft>
                <a:spcPct val="0"/>
              </a:spcAft>
              <a:buClr>
                <a:srgbClr val="F0AB00"/>
              </a:buClr>
              <a:buSzPct val="80000"/>
            </a:pPr>
            <a:r>
              <a:rPr lang="en-US" sz="1050" b="1" kern="0">
                <a:solidFill>
                  <a:schemeClr val="tx1"/>
                </a:solidFill>
                <a:ea typeface="Arial Unicode MS" pitchFamily="34" charset="-128"/>
              </a:rPr>
              <a:t>GCP</a:t>
            </a:r>
          </a:p>
        </p:txBody>
      </p:sp>
      <p:sp>
        <p:nvSpPr>
          <p:cNvPr id="5" name="Callout: Bent Line 4">
            <a:extLst>
              <a:ext uri="{FF2B5EF4-FFF2-40B4-BE49-F238E27FC236}">
                <a16:creationId xmlns:a16="http://schemas.microsoft.com/office/drawing/2014/main" id="{B43FDED2-B384-6B5A-56CD-77911DF439D1}"/>
              </a:ext>
            </a:extLst>
          </p:cNvPr>
          <p:cNvSpPr/>
          <p:nvPr/>
        </p:nvSpPr>
        <p:spPr bwMode="gray">
          <a:xfrm>
            <a:off x="4756879" y="3521502"/>
            <a:ext cx="576000" cy="216000"/>
          </a:xfrm>
          <a:prstGeom prst="borderCallout2">
            <a:avLst>
              <a:gd name="adj1" fmla="val 14430"/>
              <a:gd name="adj2" fmla="val 99781"/>
              <a:gd name="adj3" fmla="val 87865"/>
              <a:gd name="adj4" fmla="val 121024"/>
              <a:gd name="adj5" fmla="val 151378"/>
              <a:gd name="adj6" fmla="val 139622"/>
            </a:avLst>
          </a:prstGeom>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fontAlgn="base">
              <a:spcAft>
                <a:spcPct val="0"/>
              </a:spcAft>
              <a:buClr>
                <a:srgbClr val="F0AB00"/>
              </a:buClr>
              <a:buSzPct val="80000"/>
            </a:pPr>
            <a:r>
              <a:rPr lang="en-US" sz="1050" b="1" kern="0">
                <a:solidFill>
                  <a:schemeClr val="tx1"/>
                </a:solidFill>
                <a:ea typeface="Arial Unicode MS" pitchFamily="34" charset="-128"/>
              </a:rPr>
              <a:t>Azure</a:t>
            </a:r>
          </a:p>
        </p:txBody>
      </p:sp>
      <p:sp>
        <p:nvSpPr>
          <p:cNvPr id="8" name="Callout: Bent Line 7">
            <a:extLst>
              <a:ext uri="{FF2B5EF4-FFF2-40B4-BE49-F238E27FC236}">
                <a16:creationId xmlns:a16="http://schemas.microsoft.com/office/drawing/2014/main" id="{D6EB5E3C-ECB6-FAD2-D813-90A959EF3231}"/>
              </a:ext>
            </a:extLst>
          </p:cNvPr>
          <p:cNvSpPr/>
          <p:nvPr/>
        </p:nvSpPr>
        <p:spPr bwMode="gray">
          <a:xfrm>
            <a:off x="5608933" y="4495184"/>
            <a:ext cx="576000" cy="216000"/>
          </a:xfrm>
          <a:prstGeom prst="borderCallout2">
            <a:avLst>
              <a:gd name="adj1" fmla="val -15808"/>
              <a:gd name="adj2" fmla="val 88442"/>
              <a:gd name="adj3" fmla="val -67645"/>
              <a:gd name="adj4" fmla="val 96725"/>
              <a:gd name="adj5" fmla="val -73250"/>
              <a:gd name="adj6" fmla="val 107932"/>
            </a:avLst>
          </a:prstGeom>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fontAlgn="base">
              <a:spcAft>
                <a:spcPct val="0"/>
              </a:spcAft>
              <a:buClr>
                <a:srgbClr val="F0AB00"/>
              </a:buClr>
              <a:buSzPct val="80000"/>
            </a:pPr>
            <a:r>
              <a:rPr lang="en-US" sz="1050" b="1" kern="0">
                <a:solidFill>
                  <a:schemeClr val="tx1"/>
                </a:solidFill>
                <a:ea typeface="Arial Unicode MS" pitchFamily="34" charset="-128"/>
              </a:rPr>
              <a:t>GCP</a:t>
            </a:r>
          </a:p>
        </p:txBody>
      </p:sp>
      <p:sp>
        <p:nvSpPr>
          <p:cNvPr id="12" name="Callout: Bent Line 11">
            <a:extLst>
              <a:ext uri="{FF2B5EF4-FFF2-40B4-BE49-F238E27FC236}">
                <a16:creationId xmlns:a16="http://schemas.microsoft.com/office/drawing/2014/main" id="{CA1663F3-0AF7-89F5-3FA3-1A6B07A55598}"/>
              </a:ext>
            </a:extLst>
          </p:cNvPr>
          <p:cNvSpPr/>
          <p:nvPr/>
        </p:nvSpPr>
        <p:spPr bwMode="gray">
          <a:xfrm>
            <a:off x="4665613" y="5234709"/>
            <a:ext cx="576000" cy="216000"/>
          </a:xfrm>
          <a:prstGeom prst="borderCallout2">
            <a:avLst>
              <a:gd name="adj1" fmla="val 18750"/>
              <a:gd name="adj2" fmla="val -2272"/>
              <a:gd name="adj3" fmla="val 18750"/>
              <a:gd name="adj4" fmla="val -16667"/>
              <a:gd name="adj5" fmla="val 112499"/>
              <a:gd name="adj6" fmla="val -49198"/>
            </a:avLst>
          </a:prstGeom>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fontAlgn="base">
              <a:spcAft>
                <a:spcPct val="0"/>
              </a:spcAft>
              <a:buClr>
                <a:srgbClr val="F0AB00"/>
              </a:buClr>
              <a:buSzPct val="80000"/>
            </a:pPr>
            <a:r>
              <a:rPr lang="en-US" sz="1050" b="1" kern="0">
                <a:solidFill>
                  <a:schemeClr val="tx1"/>
                </a:solidFill>
                <a:ea typeface="Arial Unicode MS" pitchFamily="34" charset="-128"/>
              </a:rPr>
              <a:t>AWS</a:t>
            </a:r>
          </a:p>
        </p:txBody>
      </p:sp>
      <p:sp>
        <p:nvSpPr>
          <p:cNvPr id="13" name="Callout: Bent Line 12">
            <a:extLst>
              <a:ext uri="{FF2B5EF4-FFF2-40B4-BE49-F238E27FC236}">
                <a16:creationId xmlns:a16="http://schemas.microsoft.com/office/drawing/2014/main" id="{3884F0E5-8DB1-A854-C85D-68CA438B9008}"/>
              </a:ext>
            </a:extLst>
          </p:cNvPr>
          <p:cNvSpPr/>
          <p:nvPr/>
        </p:nvSpPr>
        <p:spPr bwMode="gray">
          <a:xfrm>
            <a:off x="7568457" y="4727617"/>
            <a:ext cx="576000" cy="216000"/>
          </a:xfrm>
          <a:prstGeom prst="borderCallout2">
            <a:avLst>
              <a:gd name="adj1" fmla="val 18750"/>
              <a:gd name="adj2" fmla="val -2272"/>
              <a:gd name="adj3" fmla="val 18750"/>
              <a:gd name="adj4" fmla="val -16667"/>
              <a:gd name="adj5" fmla="val -38053"/>
              <a:gd name="adj6" fmla="val -50707"/>
            </a:avLst>
          </a:prstGeom>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fontAlgn="base">
              <a:spcAft>
                <a:spcPct val="0"/>
              </a:spcAft>
              <a:buClr>
                <a:srgbClr val="F0AB00"/>
              </a:buClr>
              <a:buSzPct val="80000"/>
            </a:pPr>
            <a:r>
              <a:rPr lang="en-US" sz="1050" b="1" kern="0">
                <a:solidFill>
                  <a:schemeClr val="tx1"/>
                </a:solidFill>
                <a:ea typeface="Arial Unicode MS" pitchFamily="34" charset="-128"/>
              </a:rPr>
              <a:t>AWS</a:t>
            </a:r>
          </a:p>
        </p:txBody>
      </p:sp>
      <p:sp>
        <p:nvSpPr>
          <p:cNvPr id="14" name="Callout: Bent Line 13">
            <a:extLst>
              <a:ext uri="{FF2B5EF4-FFF2-40B4-BE49-F238E27FC236}">
                <a16:creationId xmlns:a16="http://schemas.microsoft.com/office/drawing/2014/main" id="{351537D5-940C-4D4A-C4A6-4A3A8C829570}"/>
              </a:ext>
            </a:extLst>
          </p:cNvPr>
          <p:cNvSpPr/>
          <p:nvPr/>
        </p:nvSpPr>
        <p:spPr bwMode="gray">
          <a:xfrm>
            <a:off x="9277407" y="6209516"/>
            <a:ext cx="576000" cy="216000"/>
          </a:xfrm>
          <a:prstGeom prst="borderCallout2">
            <a:avLst>
              <a:gd name="adj1" fmla="val 23070"/>
              <a:gd name="adj2" fmla="val -652"/>
              <a:gd name="adj3" fmla="val -28768"/>
              <a:gd name="adj4" fmla="val -13428"/>
              <a:gd name="adj5" fmla="val -168285"/>
              <a:gd name="adj6" fmla="val -49198"/>
            </a:avLst>
          </a:prstGeom>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fontAlgn="base">
              <a:spcAft>
                <a:spcPct val="0"/>
              </a:spcAft>
              <a:buClr>
                <a:srgbClr val="F0AB00"/>
              </a:buClr>
              <a:buSzPct val="80000"/>
            </a:pPr>
            <a:r>
              <a:rPr lang="en-US" sz="1050" b="1" kern="0">
                <a:solidFill>
                  <a:schemeClr val="tx1"/>
                </a:solidFill>
                <a:ea typeface="Arial Unicode MS" pitchFamily="34" charset="-128"/>
              </a:rPr>
              <a:t>GCP</a:t>
            </a:r>
          </a:p>
        </p:txBody>
      </p:sp>
      <p:sp>
        <p:nvSpPr>
          <p:cNvPr id="16" name="Callout: Bent Line 15">
            <a:extLst>
              <a:ext uri="{FF2B5EF4-FFF2-40B4-BE49-F238E27FC236}">
                <a16:creationId xmlns:a16="http://schemas.microsoft.com/office/drawing/2014/main" id="{84303362-7424-FB2D-D2BC-0A24D136D4ED}"/>
              </a:ext>
            </a:extLst>
          </p:cNvPr>
          <p:cNvSpPr/>
          <p:nvPr/>
        </p:nvSpPr>
        <p:spPr bwMode="gray">
          <a:xfrm>
            <a:off x="8889013" y="3316209"/>
            <a:ext cx="576000" cy="216000"/>
          </a:xfrm>
          <a:prstGeom prst="borderCallout2">
            <a:avLst>
              <a:gd name="adj1" fmla="val 18750"/>
              <a:gd name="adj2" fmla="val -2272"/>
              <a:gd name="adj3" fmla="val 18750"/>
              <a:gd name="adj4" fmla="val -16667"/>
              <a:gd name="adj5" fmla="val 216174"/>
              <a:gd name="adj6" fmla="val -38568"/>
            </a:avLst>
          </a:prstGeom>
          <a:ln>
            <a:headEnd/>
            <a:tailEnd/>
          </a:ln>
        </p:spPr>
        <p:style>
          <a:lnRef idx="1">
            <a:schemeClr val="accent4"/>
          </a:lnRef>
          <a:fillRef idx="2">
            <a:schemeClr val="accent4"/>
          </a:fillRef>
          <a:effectRef idx="1">
            <a:schemeClr val="accent4"/>
          </a:effectRef>
          <a:fontRef idx="minor">
            <a:schemeClr val="dk1"/>
          </a:fontRef>
        </p:style>
        <p:txBody>
          <a:bodyPr lIns="90000" tIns="72000" rIns="90000" bIns="72000" rtlCol="0" anchor="ctr"/>
          <a:lstStyle/>
          <a:p>
            <a:pPr fontAlgn="base">
              <a:spcAft>
                <a:spcPct val="0"/>
              </a:spcAft>
              <a:buClr>
                <a:srgbClr val="F0AB00"/>
              </a:buClr>
              <a:buSzPct val="80000"/>
            </a:pPr>
            <a:r>
              <a:rPr lang="en-US" sz="1050" b="1" kern="0">
                <a:solidFill>
                  <a:schemeClr val="tx1"/>
                </a:solidFill>
                <a:ea typeface="Arial Unicode MS" pitchFamily="34" charset="-128"/>
              </a:rPr>
              <a:t>Azure</a:t>
            </a:r>
          </a:p>
        </p:txBody>
      </p:sp>
    </p:spTree>
    <p:extLst>
      <p:ext uri="{BB962C8B-B14F-4D97-AF65-F5344CB8AC3E}">
        <p14:creationId xmlns:p14="http://schemas.microsoft.com/office/powerpoint/2010/main" val="38836968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Shape 4">
            <a:hlinkClick r:id="rId3" action="ppaction://hlinksldjump"/>
            <a:extLst>
              <a:ext uri="{FF2B5EF4-FFF2-40B4-BE49-F238E27FC236}">
                <a16:creationId xmlns:a16="http://schemas.microsoft.com/office/drawing/2014/main" id="{75EA6310-4497-C247-366A-C1AB8EC75CCE}"/>
              </a:ext>
            </a:extLst>
          </p:cNvPr>
          <p:cNvSpPr/>
          <p:nvPr/>
        </p:nvSpPr>
        <p:spPr>
          <a:xfrm>
            <a:off x="837726" y="1369326"/>
            <a:ext cx="3396521" cy="2844000"/>
          </a:xfrm>
          <a:custGeom>
            <a:avLst/>
            <a:gdLst>
              <a:gd name="connsiteX0" fmla="*/ 0 w 3396521"/>
              <a:gd name="connsiteY0" fmla="*/ 339652 h 4399872"/>
              <a:gd name="connsiteX1" fmla="*/ 339652 w 3396521"/>
              <a:gd name="connsiteY1" fmla="*/ 0 h 4399872"/>
              <a:gd name="connsiteX2" fmla="*/ 3056869 w 3396521"/>
              <a:gd name="connsiteY2" fmla="*/ 0 h 4399872"/>
              <a:gd name="connsiteX3" fmla="*/ 3396521 w 3396521"/>
              <a:gd name="connsiteY3" fmla="*/ 339652 h 4399872"/>
              <a:gd name="connsiteX4" fmla="*/ 3396521 w 3396521"/>
              <a:gd name="connsiteY4" fmla="*/ 4060220 h 4399872"/>
              <a:gd name="connsiteX5" fmla="*/ 3056869 w 3396521"/>
              <a:gd name="connsiteY5" fmla="*/ 4399872 h 4399872"/>
              <a:gd name="connsiteX6" fmla="*/ 339652 w 3396521"/>
              <a:gd name="connsiteY6" fmla="*/ 4399872 h 4399872"/>
              <a:gd name="connsiteX7" fmla="*/ 0 w 3396521"/>
              <a:gd name="connsiteY7" fmla="*/ 4060220 h 4399872"/>
              <a:gd name="connsiteX8" fmla="*/ 0 w 3396521"/>
              <a:gd name="connsiteY8" fmla="*/ 339652 h 439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6521" h="4399872">
                <a:moveTo>
                  <a:pt x="0" y="339652"/>
                </a:moveTo>
                <a:cubicBezTo>
                  <a:pt x="0" y="152067"/>
                  <a:pt x="152067" y="0"/>
                  <a:pt x="339652" y="0"/>
                </a:cubicBezTo>
                <a:lnTo>
                  <a:pt x="3056869" y="0"/>
                </a:lnTo>
                <a:cubicBezTo>
                  <a:pt x="3244454" y="0"/>
                  <a:pt x="3396521" y="152067"/>
                  <a:pt x="3396521" y="339652"/>
                </a:cubicBezTo>
                <a:lnTo>
                  <a:pt x="3396521" y="4060220"/>
                </a:lnTo>
                <a:cubicBezTo>
                  <a:pt x="3396521" y="4247805"/>
                  <a:pt x="3244454" y="4399872"/>
                  <a:pt x="3056869" y="4399872"/>
                </a:cubicBezTo>
                <a:lnTo>
                  <a:pt x="339652" y="4399872"/>
                </a:lnTo>
                <a:cubicBezTo>
                  <a:pt x="152067" y="4399872"/>
                  <a:pt x="0" y="4247805"/>
                  <a:pt x="0" y="4060220"/>
                </a:cubicBezTo>
                <a:lnTo>
                  <a:pt x="0" y="339652"/>
                </a:lnTo>
                <a:close/>
              </a:path>
            </a:pathLst>
          </a:custGeom>
          <a:solidFill>
            <a:srgbClr val="E5EDF7"/>
          </a:solidFill>
          <a:ln w="76200">
            <a:solidFill>
              <a:srgbClr val="DEEBF7"/>
            </a:solidFill>
          </a:ln>
        </p:spPr>
        <p:style>
          <a:lnRef idx="0">
            <a:scrgbClr r="0" g="0" b="0"/>
          </a:lnRef>
          <a:fillRef idx="1">
            <a:scrgbClr r="0" g="0" b="0"/>
          </a:fillRef>
          <a:effectRef idx="0">
            <a:schemeClr val="accent3">
              <a:tint val="40000"/>
              <a:hueOff val="0"/>
              <a:satOff val="0"/>
              <a:lumOff val="0"/>
              <a:alphaOff val="0"/>
            </a:schemeClr>
          </a:effectRef>
          <a:fontRef idx="minor">
            <a:schemeClr val="dk1">
              <a:hueOff val="0"/>
              <a:satOff val="0"/>
              <a:lumOff val="0"/>
              <a:alphaOff val="0"/>
            </a:schemeClr>
          </a:fontRef>
        </p:style>
        <p:txBody>
          <a:bodyPr spcFirstLastPara="0" vert="horz" wrap="square" lIns="0" tIns="0" rIns="68580" bIns="0" numCol="1" spcCol="1270" anchor="t" anchorCtr="0">
            <a:noAutofit/>
          </a:bodyPr>
          <a:lstStyle/>
          <a:p>
            <a:pPr marL="0" lvl="0" indent="0" algn="ctr" defTabSz="800100">
              <a:lnSpc>
                <a:spcPct val="90000"/>
              </a:lnSpc>
              <a:spcBef>
                <a:spcPct val="0"/>
              </a:spcBef>
              <a:spcAft>
                <a:spcPct val="35000"/>
              </a:spcAft>
              <a:buNone/>
            </a:pPr>
            <a:r>
              <a:rPr lang="en-US" sz="1800" b="1" kern="1200"/>
              <a:t>Traffic Managemen</a:t>
            </a:r>
            <a:r>
              <a:rPr lang="en-US" sz="1800" b="1"/>
              <a:t>t</a:t>
            </a:r>
            <a:r>
              <a:rPr lang="en-US" sz="1800" b="1" kern="1200"/>
              <a:t> and </a:t>
            </a:r>
            <a:r>
              <a:rPr lang="en-US" sz="1800" b="1" kern="1200">
                <a:solidFill>
                  <a:schemeClr val="tx1"/>
                </a:solidFill>
              </a:rPr>
              <a:t>O</a:t>
            </a:r>
            <a:r>
              <a:rPr lang="en-US" sz="1800" b="1" kern="1200"/>
              <a:t>ptimization</a:t>
            </a:r>
          </a:p>
        </p:txBody>
      </p:sp>
      <p:sp>
        <p:nvSpPr>
          <p:cNvPr id="7" name="Freeform: Shape 6">
            <a:extLst>
              <a:ext uri="{FF2B5EF4-FFF2-40B4-BE49-F238E27FC236}">
                <a16:creationId xmlns:a16="http://schemas.microsoft.com/office/drawing/2014/main" id="{3AFF62F0-499D-C326-8742-CE358D2B7107}"/>
              </a:ext>
            </a:extLst>
          </p:cNvPr>
          <p:cNvSpPr/>
          <p:nvPr/>
        </p:nvSpPr>
        <p:spPr>
          <a:xfrm>
            <a:off x="1096576" y="2033628"/>
            <a:ext cx="1332000" cy="421200"/>
          </a:xfrm>
          <a:custGeom>
            <a:avLst/>
            <a:gdLst>
              <a:gd name="connsiteX0" fmla="*/ 0 w 893393"/>
              <a:gd name="connsiteY0" fmla="*/ 38414 h 384144"/>
              <a:gd name="connsiteX1" fmla="*/ 38414 w 893393"/>
              <a:gd name="connsiteY1" fmla="*/ 0 h 384144"/>
              <a:gd name="connsiteX2" fmla="*/ 854979 w 893393"/>
              <a:gd name="connsiteY2" fmla="*/ 0 h 384144"/>
              <a:gd name="connsiteX3" fmla="*/ 893393 w 893393"/>
              <a:gd name="connsiteY3" fmla="*/ 38414 h 384144"/>
              <a:gd name="connsiteX4" fmla="*/ 893393 w 893393"/>
              <a:gd name="connsiteY4" fmla="*/ 345730 h 384144"/>
              <a:gd name="connsiteX5" fmla="*/ 854979 w 893393"/>
              <a:gd name="connsiteY5" fmla="*/ 384144 h 384144"/>
              <a:gd name="connsiteX6" fmla="*/ 38414 w 893393"/>
              <a:gd name="connsiteY6" fmla="*/ 384144 h 384144"/>
              <a:gd name="connsiteX7" fmla="*/ 0 w 893393"/>
              <a:gd name="connsiteY7" fmla="*/ 345730 h 384144"/>
              <a:gd name="connsiteX8" fmla="*/ 0 w 893393"/>
              <a:gd name="connsiteY8" fmla="*/ 38414 h 3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393" h="384144">
                <a:moveTo>
                  <a:pt x="0" y="38414"/>
                </a:moveTo>
                <a:cubicBezTo>
                  <a:pt x="0" y="17199"/>
                  <a:pt x="17199" y="0"/>
                  <a:pt x="38414" y="0"/>
                </a:cubicBezTo>
                <a:lnTo>
                  <a:pt x="854979" y="0"/>
                </a:lnTo>
                <a:cubicBezTo>
                  <a:pt x="876194" y="0"/>
                  <a:pt x="893393" y="17199"/>
                  <a:pt x="893393" y="38414"/>
                </a:cubicBezTo>
                <a:lnTo>
                  <a:pt x="893393" y="345730"/>
                </a:lnTo>
                <a:cubicBezTo>
                  <a:pt x="893393" y="366945"/>
                  <a:pt x="876194" y="384144"/>
                  <a:pt x="854979" y="384144"/>
                </a:cubicBezTo>
                <a:lnTo>
                  <a:pt x="38414" y="384144"/>
                </a:lnTo>
                <a:cubicBezTo>
                  <a:pt x="17199" y="384144"/>
                  <a:pt x="0" y="366945"/>
                  <a:pt x="0" y="345730"/>
                </a:cubicBezTo>
                <a:lnTo>
                  <a:pt x="0" y="38414"/>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marL="0" lvl="0" indent="0" algn="ctr" defTabSz="466725">
              <a:lnSpc>
                <a:spcPct val="90000"/>
              </a:lnSpc>
              <a:spcBef>
                <a:spcPct val="0"/>
              </a:spcBef>
              <a:spcAft>
                <a:spcPct val="35000"/>
              </a:spcAft>
              <a:buClr>
                <a:srgbClr val="F0AB00"/>
              </a:buClr>
              <a:buSzPct val="100000"/>
              <a:buFont typeface="Wingdings" pitchFamily="2" charset="2"/>
              <a:buNone/>
            </a:pPr>
            <a:r>
              <a:rPr kumimoji="0" lang="en-US" sz="1050" i="0" u="none" strike="noStrike" kern="1200" cap="none" spc="0" normalizeH="0" baseline="0" noProof="0">
                <a:ln/>
                <a:effectLst/>
                <a:uLnTx/>
                <a:uFillTx/>
                <a:latin typeface="Arial"/>
                <a:ea typeface="+mn-ea"/>
                <a:cs typeface="+mn-cs"/>
              </a:rPr>
              <a:t>DNS Management &amp; Common super Domain L1</a:t>
            </a:r>
            <a:endParaRPr lang="en-US" sz="1050" kern="1200"/>
          </a:p>
        </p:txBody>
      </p:sp>
      <p:sp>
        <p:nvSpPr>
          <p:cNvPr id="10" name="Freeform: Shape 9">
            <a:extLst>
              <a:ext uri="{FF2B5EF4-FFF2-40B4-BE49-F238E27FC236}">
                <a16:creationId xmlns:a16="http://schemas.microsoft.com/office/drawing/2014/main" id="{54D3931E-B8B6-2D60-27D3-7D5D3FFC810A}"/>
              </a:ext>
            </a:extLst>
          </p:cNvPr>
          <p:cNvSpPr/>
          <p:nvPr/>
        </p:nvSpPr>
        <p:spPr>
          <a:xfrm>
            <a:off x="4488987" y="1369325"/>
            <a:ext cx="3396521" cy="2844000"/>
          </a:xfrm>
          <a:custGeom>
            <a:avLst/>
            <a:gdLst>
              <a:gd name="connsiteX0" fmla="*/ 0 w 3396521"/>
              <a:gd name="connsiteY0" fmla="*/ 339652 h 4399872"/>
              <a:gd name="connsiteX1" fmla="*/ 339652 w 3396521"/>
              <a:gd name="connsiteY1" fmla="*/ 0 h 4399872"/>
              <a:gd name="connsiteX2" fmla="*/ 3056869 w 3396521"/>
              <a:gd name="connsiteY2" fmla="*/ 0 h 4399872"/>
              <a:gd name="connsiteX3" fmla="*/ 3396521 w 3396521"/>
              <a:gd name="connsiteY3" fmla="*/ 339652 h 4399872"/>
              <a:gd name="connsiteX4" fmla="*/ 3396521 w 3396521"/>
              <a:gd name="connsiteY4" fmla="*/ 4060220 h 4399872"/>
              <a:gd name="connsiteX5" fmla="*/ 3056869 w 3396521"/>
              <a:gd name="connsiteY5" fmla="*/ 4399872 h 4399872"/>
              <a:gd name="connsiteX6" fmla="*/ 339652 w 3396521"/>
              <a:gd name="connsiteY6" fmla="*/ 4399872 h 4399872"/>
              <a:gd name="connsiteX7" fmla="*/ 0 w 3396521"/>
              <a:gd name="connsiteY7" fmla="*/ 4060220 h 4399872"/>
              <a:gd name="connsiteX8" fmla="*/ 0 w 3396521"/>
              <a:gd name="connsiteY8" fmla="*/ 339652 h 439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6521" h="4399872">
                <a:moveTo>
                  <a:pt x="0" y="339652"/>
                </a:moveTo>
                <a:cubicBezTo>
                  <a:pt x="0" y="152067"/>
                  <a:pt x="152067" y="0"/>
                  <a:pt x="339652" y="0"/>
                </a:cubicBezTo>
                <a:lnTo>
                  <a:pt x="3056869" y="0"/>
                </a:lnTo>
                <a:cubicBezTo>
                  <a:pt x="3244454" y="0"/>
                  <a:pt x="3396521" y="152067"/>
                  <a:pt x="3396521" y="339652"/>
                </a:cubicBezTo>
                <a:lnTo>
                  <a:pt x="3396521" y="4060220"/>
                </a:lnTo>
                <a:cubicBezTo>
                  <a:pt x="3396521" y="4247805"/>
                  <a:pt x="3244454" y="4399872"/>
                  <a:pt x="3056869" y="4399872"/>
                </a:cubicBezTo>
                <a:lnTo>
                  <a:pt x="339652" y="4399872"/>
                </a:lnTo>
                <a:cubicBezTo>
                  <a:pt x="152067" y="4399872"/>
                  <a:pt x="0" y="4247805"/>
                  <a:pt x="0" y="4060220"/>
                </a:cubicBezTo>
                <a:lnTo>
                  <a:pt x="0" y="339652"/>
                </a:lnTo>
                <a:close/>
              </a:path>
            </a:pathLst>
          </a:custGeom>
          <a:solidFill>
            <a:srgbClr val="E5EDF7"/>
          </a:solidFill>
          <a:ln w="76200">
            <a:solidFill>
              <a:srgbClr val="DEEBF7"/>
            </a:solidFill>
          </a:ln>
        </p:spPr>
        <p:style>
          <a:lnRef idx="0">
            <a:scrgbClr r="0" g="0" b="0"/>
          </a:lnRef>
          <a:fillRef idx="1">
            <a:scrgbClr r="0" g="0" b="0"/>
          </a:fillRef>
          <a:effectRef idx="0">
            <a:schemeClr val="accent3">
              <a:tint val="40000"/>
              <a:hueOff val="0"/>
              <a:satOff val="0"/>
              <a:lumOff val="0"/>
              <a:alphaOff val="0"/>
            </a:schemeClr>
          </a:effectRef>
          <a:fontRef idx="minor">
            <a:schemeClr val="dk1">
              <a:hueOff val="0"/>
              <a:satOff val="0"/>
              <a:lumOff val="0"/>
              <a:alphaOff val="0"/>
            </a:schemeClr>
          </a:fontRef>
        </p:style>
        <p:txBody>
          <a:bodyPr spcFirstLastPara="0" vert="horz" wrap="square" lIns="0" tIns="0" rIns="68580" bIns="0" numCol="1" spcCol="1270" anchor="t" anchorCtr="0">
            <a:noAutofit/>
          </a:bodyPr>
          <a:lstStyle/>
          <a:p>
            <a:pPr algn="ctr" defTabSz="800100">
              <a:lnSpc>
                <a:spcPct val="90000"/>
              </a:lnSpc>
              <a:spcBef>
                <a:spcPct val="0"/>
              </a:spcBef>
              <a:spcAft>
                <a:spcPct val="35000"/>
              </a:spcAft>
            </a:pPr>
            <a:r>
              <a:rPr lang="en-US" sz="1800" b="1"/>
              <a:t>Traffic Monitoring &amp; Observability</a:t>
            </a:r>
          </a:p>
        </p:txBody>
      </p:sp>
      <p:sp>
        <p:nvSpPr>
          <p:cNvPr id="11" name="Freeform: Shape 10">
            <a:extLst>
              <a:ext uri="{FF2B5EF4-FFF2-40B4-BE49-F238E27FC236}">
                <a16:creationId xmlns:a16="http://schemas.microsoft.com/office/drawing/2014/main" id="{9ADDECD0-D168-C9F9-1A9B-875635516DB3}"/>
              </a:ext>
            </a:extLst>
          </p:cNvPr>
          <p:cNvSpPr/>
          <p:nvPr/>
        </p:nvSpPr>
        <p:spPr>
          <a:xfrm>
            <a:off x="4757032" y="2033628"/>
            <a:ext cx="1332000" cy="421200"/>
          </a:xfrm>
          <a:custGeom>
            <a:avLst/>
            <a:gdLst>
              <a:gd name="connsiteX0" fmla="*/ 0 w 2717217"/>
              <a:gd name="connsiteY0" fmla="*/ 64800 h 647999"/>
              <a:gd name="connsiteX1" fmla="*/ 64800 w 2717217"/>
              <a:gd name="connsiteY1" fmla="*/ 0 h 647999"/>
              <a:gd name="connsiteX2" fmla="*/ 2652417 w 2717217"/>
              <a:gd name="connsiteY2" fmla="*/ 0 h 647999"/>
              <a:gd name="connsiteX3" fmla="*/ 2717217 w 2717217"/>
              <a:gd name="connsiteY3" fmla="*/ 64800 h 647999"/>
              <a:gd name="connsiteX4" fmla="*/ 2717217 w 2717217"/>
              <a:gd name="connsiteY4" fmla="*/ 583199 h 647999"/>
              <a:gd name="connsiteX5" fmla="*/ 2652417 w 2717217"/>
              <a:gd name="connsiteY5" fmla="*/ 647999 h 647999"/>
              <a:gd name="connsiteX6" fmla="*/ 64800 w 2717217"/>
              <a:gd name="connsiteY6" fmla="*/ 647999 h 647999"/>
              <a:gd name="connsiteX7" fmla="*/ 0 w 2717217"/>
              <a:gd name="connsiteY7" fmla="*/ 583199 h 647999"/>
              <a:gd name="connsiteX8" fmla="*/ 0 w 2717217"/>
              <a:gd name="connsiteY8" fmla="*/ 64800 h 64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647999">
                <a:moveTo>
                  <a:pt x="0" y="64800"/>
                </a:moveTo>
                <a:cubicBezTo>
                  <a:pt x="0" y="29012"/>
                  <a:pt x="29012" y="0"/>
                  <a:pt x="64800" y="0"/>
                </a:cubicBezTo>
                <a:lnTo>
                  <a:pt x="2652417" y="0"/>
                </a:lnTo>
                <a:cubicBezTo>
                  <a:pt x="2688205" y="0"/>
                  <a:pt x="2717217" y="29012"/>
                  <a:pt x="2717217" y="64800"/>
                </a:cubicBezTo>
                <a:lnTo>
                  <a:pt x="2717217" y="583199"/>
                </a:lnTo>
                <a:cubicBezTo>
                  <a:pt x="2717217" y="618987"/>
                  <a:pt x="2688205" y="647999"/>
                  <a:pt x="2652417" y="647999"/>
                </a:cubicBezTo>
                <a:lnTo>
                  <a:pt x="64800" y="647999"/>
                </a:lnTo>
                <a:cubicBezTo>
                  <a:pt x="29012" y="647999"/>
                  <a:pt x="0" y="618987"/>
                  <a:pt x="0" y="583199"/>
                </a:cubicBezTo>
                <a:lnTo>
                  <a:pt x="0" y="64800"/>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algn="ctr" defTabSz="466725">
              <a:lnSpc>
                <a:spcPct val="90000"/>
              </a:lnSpc>
              <a:spcBef>
                <a:spcPct val="0"/>
              </a:spcBef>
              <a:spcAft>
                <a:spcPct val="35000"/>
              </a:spcAft>
              <a:buClr>
                <a:srgbClr val="F0AB00"/>
              </a:buClr>
              <a:buSzPct val="100000"/>
            </a:pPr>
            <a:r>
              <a:rPr lang="en-US" sz="1050">
                <a:ln/>
                <a:latin typeface="Arial"/>
              </a:rPr>
              <a:t>API Insights Logging (TG46)</a:t>
            </a:r>
          </a:p>
        </p:txBody>
      </p:sp>
      <p:sp>
        <p:nvSpPr>
          <p:cNvPr id="12" name="Freeform: Shape 11">
            <a:hlinkClick r:id="rId4" action="ppaction://hlinksldjump"/>
            <a:extLst>
              <a:ext uri="{FF2B5EF4-FFF2-40B4-BE49-F238E27FC236}">
                <a16:creationId xmlns:a16="http://schemas.microsoft.com/office/drawing/2014/main" id="{36C995AF-F214-7BD3-6AD1-53DBA89F5E21}"/>
              </a:ext>
            </a:extLst>
          </p:cNvPr>
          <p:cNvSpPr/>
          <p:nvPr/>
        </p:nvSpPr>
        <p:spPr>
          <a:xfrm>
            <a:off x="4757032" y="2530101"/>
            <a:ext cx="1332000" cy="421200"/>
          </a:xfrm>
          <a:custGeom>
            <a:avLst/>
            <a:gdLst>
              <a:gd name="connsiteX0" fmla="*/ 0 w 2717217"/>
              <a:gd name="connsiteY0" fmla="*/ 64800 h 647999"/>
              <a:gd name="connsiteX1" fmla="*/ 64800 w 2717217"/>
              <a:gd name="connsiteY1" fmla="*/ 0 h 647999"/>
              <a:gd name="connsiteX2" fmla="*/ 2652417 w 2717217"/>
              <a:gd name="connsiteY2" fmla="*/ 0 h 647999"/>
              <a:gd name="connsiteX3" fmla="*/ 2717217 w 2717217"/>
              <a:gd name="connsiteY3" fmla="*/ 64800 h 647999"/>
              <a:gd name="connsiteX4" fmla="*/ 2717217 w 2717217"/>
              <a:gd name="connsiteY4" fmla="*/ 583199 h 647999"/>
              <a:gd name="connsiteX5" fmla="*/ 2652417 w 2717217"/>
              <a:gd name="connsiteY5" fmla="*/ 647999 h 647999"/>
              <a:gd name="connsiteX6" fmla="*/ 64800 w 2717217"/>
              <a:gd name="connsiteY6" fmla="*/ 647999 h 647999"/>
              <a:gd name="connsiteX7" fmla="*/ 0 w 2717217"/>
              <a:gd name="connsiteY7" fmla="*/ 583199 h 647999"/>
              <a:gd name="connsiteX8" fmla="*/ 0 w 2717217"/>
              <a:gd name="connsiteY8" fmla="*/ 64800 h 64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647999">
                <a:moveTo>
                  <a:pt x="0" y="64800"/>
                </a:moveTo>
                <a:cubicBezTo>
                  <a:pt x="0" y="29012"/>
                  <a:pt x="29012" y="0"/>
                  <a:pt x="64800" y="0"/>
                </a:cubicBezTo>
                <a:lnTo>
                  <a:pt x="2652417" y="0"/>
                </a:lnTo>
                <a:cubicBezTo>
                  <a:pt x="2688205" y="0"/>
                  <a:pt x="2717217" y="29012"/>
                  <a:pt x="2717217" y="64800"/>
                </a:cubicBezTo>
                <a:lnTo>
                  <a:pt x="2717217" y="583199"/>
                </a:lnTo>
                <a:cubicBezTo>
                  <a:pt x="2717217" y="618987"/>
                  <a:pt x="2688205" y="647999"/>
                  <a:pt x="2652417" y="647999"/>
                </a:cubicBezTo>
                <a:lnTo>
                  <a:pt x="64800" y="647999"/>
                </a:lnTo>
                <a:cubicBezTo>
                  <a:pt x="29012" y="647999"/>
                  <a:pt x="0" y="618987"/>
                  <a:pt x="0" y="583199"/>
                </a:cubicBezTo>
                <a:lnTo>
                  <a:pt x="0" y="64800"/>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algn="ctr" defTabSz="466725">
              <a:lnSpc>
                <a:spcPct val="90000"/>
              </a:lnSpc>
              <a:spcBef>
                <a:spcPct val="0"/>
              </a:spcBef>
              <a:spcAft>
                <a:spcPct val="35000"/>
              </a:spcAft>
              <a:buClr>
                <a:srgbClr val="F0AB00"/>
              </a:buClr>
              <a:buSzPct val="100000"/>
            </a:pPr>
            <a:r>
              <a:rPr lang="en-US" sz="1050">
                <a:ln/>
                <a:latin typeface="Arial"/>
              </a:rPr>
              <a:t>HTTP access logs</a:t>
            </a:r>
          </a:p>
        </p:txBody>
      </p:sp>
      <p:sp>
        <p:nvSpPr>
          <p:cNvPr id="14" name="Freeform: Shape 13">
            <a:extLst>
              <a:ext uri="{FF2B5EF4-FFF2-40B4-BE49-F238E27FC236}">
                <a16:creationId xmlns:a16="http://schemas.microsoft.com/office/drawing/2014/main" id="{C0F490B9-B7A1-960A-C4A5-AB405D03A846}"/>
              </a:ext>
            </a:extLst>
          </p:cNvPr>
          <p:cNvSpPr/>
          <p:nvPr/>
        </p:nvSpPr>
        <p:spPr>
          <a:xfrm>
            <a:off x="8140248" y="1369325"/>
            <a:ext cx="3396521" cy="2844000"/>
          </a:xfrm>
          <a:custGeom>
            <a:avLst/>
            <a:gdLst>
              <a:gd name="connsiteX0" fmla="*/ 0 w 3396521"/>
              <a:gd name="connsiteY0" fmla="*/ 339652 h 4399872"/>
              <a:gd name="connsiteX1" fmla="*/ 339652 w 3396521"/>
              <a:gd name="connsiteY1" fmla="*/ 0 h 4399872"/>
              <a:gd name="connsiteX2" fmla="*/ 3056869 w 3396521"/>
              <a:gd name="connsiteY2" fmla="*/ 0 h 4399872"/>
              <a:gd name="connsiteX3" fmla="*/ 3396521 w 3396521"/>
              <a:gd name="connsiteY3" fmla="*/ 339652 h 4399872"/>
              <a:gd name="connsiteX4" fmla="*/ 3396521 w 3396521"/>
              <a:gd name="connsiteY4" fmla="*/ 4060220 h 4399872"/>
              <a:gd name="connsiteX5" fmla="*/ 3056869 w 3396521"/>
              <a:gd name="connsiteY5" fmla="*/ 4399872 h 4399872"/>
              <a:gd name="connsiteX6" fmla="*/ 339652 w 3396521"/>
              <a:gd name="connsiteY6" fmla="*/ 4399872 h 4399872"/>
              <a:gd name="connsiteX7" fmla="*/ 0 w 3396521"/>
              <a:gd name="connsiteY7" fmla="*/ 4060220 h 4399872"/>
              <a:gd name="connsiteX8" fmla="*/ 0 w 3396521"/>
              <a:gd name="connsiteY8" fmla="*/ 339652 h 439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6521" h="4399872">
                <a:moveTo>
                  <a:pt x="0" y="339652"/>
                </a:moveTo>
                <a:cubicBezTo>
                  <a:pt x="0" y="152067"/>
                  <a:pt x="152067" y="0"/>
                  <a:pt x="339652" y="0"/>
                </a:cubicBezTo>
                <a:lnTo>
                  <a:pt x="3056869" y="0"/>
                </a:lnTo>
                <a:cubicBezTo>
                  <a:pt x="3244454" y="0"/>
                  <a:pt x="3396521" y="152067"/>
                  <a:pt x="3396521" y="339652"/>
                </a:cubicBezTo>
                <a:lnTo>
                  <a:pt x="3396521" y="4060220"/>
                </a:lnTo>
                <a:cubicBezTo>
                  <a:pt x="3396521" y="4247805"/>
                  <a:pt x="3244454" y="4399872"/>
                  <a:pt x="3056869" y="4399872"/>
                </a:cubicBezTo>
                <a:lnTo>
                  <a:pt x="339652" y="4399872"/>
                </a:lnTo>
                <a:cubicBezTo>
                  <a:pt x="152067" y="4399872"/>
                  <a:pt x="0" y="4247805"/>
                  <a:pt x="0" y="4060220"/>
                </a:cubicBezTo>
                <a:lnTo>
                  <a:pt x="0" y="339652"/>
                </a:lnTo>
                <a:close/>
              </a:path>
            </a:pathLst>
          </a:custGeom>
          <a:solidFill>
            <a:srgbClr val="E5EDF7"/>
          </a:solidFill>
          <a:ln w="76200">
            <a:solidFill>
              <a:srgbClr val="DEEBF7"/>
            </a:solidFill>
          </a:ln>
        </p:spPr>
        <p:style>
          <a:lnRef idx="0">
            <a:scrgbClr r="0" g="0" b="0"/>
          </a:lnRef>
          <a:fillRef idx="1">
            <a:scrgbClr r="0" g="0" b="0"/>
          </a:fillRef>
          <a:effectRef idx="0">
            <a:schemeClr val="accent3">
              <a:tint val="40000"/>
              <a:hueOff val="0"/>
              <a:satOff val="0"/>
              <a:lumOff val="0"/>
              <a:alphaOff val="0"/>
            </a:schemeClr>
          </a:effectRef>
          <a:fontRef idx="minor">
            <a:schemeClr val="dk1">
              <a:hueOff val="0"/>
              <a:satOff val="0"/>
              <a:lumOff val="0"/>
              <a:alphaOff val="0"/>
            </a:schemeClr>
          </a:fontRef>
        </p:style>
        <p:txBody>
          <a:bodyPr spcFirstLastPara="0" vert="horz" wrap="square" lIns="0" tIns="0" rIns="68580" bIns="0" numCol="1" spcCol="1270" anchor="t" anchorCtr="0">
            <a:noAutofit/>
          </a:bodyPr>
          <a:lstStyle/>
          <a:p>
            <a:pPr algn="ctr" defTabSz="800100">
              <a:lnSpc>
                <a:spcPct val="90000"/>
              </a:lnSpc>
              <a:spcBef>
                <a:spcPct val="0"/>
              </a:spcBef>
              <a:spcAft>
                <a:spcPct val="35000"/>
              </a:spcAft>
            </a:pPr>
            <a:r>
              <a:rPr lang="en-US" sz="1800" b="1"/>
              <a:t>Secure Traffic</a:t>
            </a:r>
          </a:p>
        </p:txBody>
      </p:sp>
      <p:sp>
        <p:nvSpPr>
          <p:cNvPr id="15" name="Freeform: Shape 14">
            <a:extLst>
              <a:ext uri="{FF2B5EF4-FFF2-40B4-BE49-F238E27FC236}">
                <a16:creationId xmlns:a16="http://schemas.microsoft.com/office/drawing/2014/main" id="{A4FEFDB0-4BF9-8F60-824B-20E26C004061}"/>
              </a:ext>
            </a:extLst>
          </p:cNvPr>
          <p:cNvSpPr/>
          <p:nvPr/>
        </p:nvSpPr>
        <p:spPr>
          <a:xfrm>
            <a:off x="8479901" y="2033628"/>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marL="0" lvl="0" indent="0" algn="ctr" defTabSz="622300">
              <a:lnSpc>
                <a:spcPct val="90000"/>
              </a:lnSpc>
              <a:spcBef>
                <a:spcPct val="0"/>
              </a:spcBef>
              <a:spcAft>
                <a:spcPct val="35000"/>
              </a:spcAft>
              <a:buNone/>
            </a:pPr>
            <a:r>
              <a:rPr kumimoji="0" lang="en-US" sz="1050" b="0" i="0" u="none" strike="noStrike" kern="1200" cap="none" spc="0" normalizeH="0" baseline="0" noProof="0">
                <a:ln/>
                <a:effectLst/>
                <a:uLnTx/>
                <a:uFillTx/>
                <a:latin typeface="Arial"/>
                <a:ea typeface="+mn-ea"/>
                <a:cs typeface="+mn-cs"/>
              </a:rPr>
              <a:t>Certificate &amp; TLS management</a:t>
            </a:r>
            <a:endParaRPr lang="en-US" sz="1050" b="0" kern="1200"/>
          </a:p>
        </p:txBody>
      </p:sp>
      <p:sp>
        <p:nvSpPr>
          <p:cNvPr id="16" name="Freeform: Shape 15">
            <a:extLst>
              <a:ext uri="{FF2B5EF4-FFF2-40B4-BE49-F238E27FC236}">
                <a16:creationId xmlns:a16="http://schemas.microsoft.com/office/drawing/2014/main" id="{7AB1BB7B-877A-08D1-E654-11E19C23BF1F}"/>
              </a:ext>
            </a:extLst>
          </p:cNvPr>
          <p:cNvSpPr/>
          <p:nvPr/>
        </p:nvSpPr>
        <p:spPr>
          <a:xfrm>
            <a:off x="8479901" y="2531927"/>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pPr>
            <a:r>
              <a:rPr lang="en-US" sz="1050">
                <a:ln/>
                <a:latin typeface="Arial"/>
              </a:rPr>
              <a:t>Static Ingress IPs</a:t>
            </a:r>
          </a:p>
        </p:txBody>
      </p:sp>
      <p:sp>
        <p:nvSpPr>
          <p:cNvPr id="17" name="Freeform: Shape 16">
            <a:extLst>
              <a:ext uri="{FF2B5EF4-FFF2-40B4-BE49-F238E27FC236}">
                <a16:creationId xmlns:a16="http://schemas.microsoft.com/office/drawing/2014/main" id="{9382BF09-5408-3D6F-E94D-BB2DC3844A19}"/>
              </a:ext>
            </a:extLst>
          </p:cNvPr>
          <p:cNvSpPr/>
          <p:nvPr/>
        </p:nvSpPr>
        <p:spPr>
          <a:xfrm>
            <a:off x="8479901" y="3030226"/>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pPr>
            <a:r>
              <a:rPr lang="en-US" sz="1050">
                <a:ln/>
                <a:latin typeface="Arial"/>
              </a:rPr>
              <a:t>mTLS to </a:t>
            </a:r>
            <a:r>
              <a:rPr lang="en-US" sz="1050" err="1">
                <a:ln/>
                <a:latin typeface="Arial"/>
              </a:rPr>
              <a:t>LoB</a:t>
            </a:r>
            <a:r>
              <a:rPr lang="en-US" sz="1050">
                <a:ln/>
                <a:latin typeface="Arial"/>
              </a:rPr>
              <a:t> &amp; </a:t>
            </a:r>
            <a:br>
              <a:rPr lang="en-US" sz="1050">
                <a:ln/>
                <a:latin typeface="Arial"/>
              </a:rPr>
            </a:br>
            <a:r>
              <a:rPr lang="en-US" sz="1050">
                <a:ln/>
                <a:latin typeface="Arial"/>
              </a:rPr>
              <a:t>Client</a:t>
            </a:r>
          </a:p>
        </p:txBody>
      </p:sp>
      <p:sp>
        <p:nvSpPr>
          <p:cNvPr id="6" name="Freeform: Shape 5">
            <a:extLst>
              <a:ext uri="{FF2B5EF4-FFF2-40B4-BE49-F238E27FC236}">
                <a16:creationId xmlns:a16="http://schemas.microsoft.com/office/drawing/2014/main" id="{B8B8E708-3078-FF48-9A87-3ED8F330FC40}"/>
              </a:ext>
            </a:extLst>
          </p:cNvPr>
          <p:cNvSpPr/>
          <p:nvPr/>
        </p:nvSpPr>
        <p:spPr>
          <a:xfrm>
            <a:off x="2625010" y="2033628"/>
            <a:ext cx="1332000" cy="421200"/>
          </a:xfrm>
          <a:custGeom>
            <a:avLst/>
            <a:gdLst>
              <a:gd name="connsiteX0" fmla="*/ 0 w 893393"/>
              <a:gd name="connsiteY0" fmla="*/ 38414 h 384144"/>
              <a:gd name="connsiteX1" fmla="*/ 38414 w 893393"/>
              <a:gd name="connsiteY1" fmla="*/ 0 h 384144"/>
              <a:gd name="connsiteX2" fmla="*/ 854979 w 893393"/>
              <a:gd name="connsiteY2" fmla="*/ 0 h 384144"/>
              <a:gd name="connsiteX3" fmla="*/ 893393 w 893393"/>
              <a:gd name="connsiteY3" fmla="*/ 38414 h 384144"/>
              <a:gd name="connsiteX4" fmla="*/ 893393 w 893393"/>
              <a:gd name="connsiteY4" fmla="*/ 345730 h 384144"/>
              <a:gd name="connsiteX5" fmla="*/ 854979 w 893393"/>
              <a:gd name="connsiteY5" fmla="*/ 384144 h 384144"/>
              <a:gd name="connsiteX6" fmla="*/ 38414 w 893393"/>
              <a:gd name="connsiteY6" fmla="*/ 384144 h 384144"/>
              <a:gd name="connsiteX7" fmla="*/ 0 w 893393"/>
              <a:gd name="connsiteY7" fmla="*/ 345730 h 384144"/>
              <a:gd name="connsiteX8" fmla="*/ 0 w 893393"/>
              <a:gd name="connsiteY8" fmla="*/ 38414 h 3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393" h="384144">
                <a:moveTo>
                  <a:pt x="0" y="38414"/>
                </a:moveTo>
                <a:cubicBezTo>
                  <a:pt x="0" y="17199"/>
                  <a:pt x="17199" y="0"/>
                  <a:pt x="38414" y="0"/>
                </a:cubicBezTo>
                <a:lnTo>
                  <a:pt x="854979" y="0"/>
                </a:lnTo>
                <a:cubicBezTo>
                  <a:pt x="876194" y="0"/>
                  <a:pt x="893393" y="17199"/>
                  <a:pt x="893393" y="38414"/>
                </a:cubicBezTo>
                <a:lnTo>
                  <a:pt x="893393" y="345730"/>
                </a:lnTo>
                <a:cubicBezTo>
                  <a:pt x="893393" y="366945"/>
                  <a:pt x="876194" y="384144"/>
                  <a:pt x="854979" y="384144"/>
                </a:cubicBezTo>
                <a:lnTo>
                  <a:pt x="38414" y="384144"/>
                </a:lnTo>
                <a:cubicBezTo>
                  <a:pt x="17199" y="384144"/>
                  <a:pt x="0" y="366945"/>
                  <a:pt x="0" y="345730"/>
                </a:cubicBezTo>
                <a:lnTo>
                  <a:pt x="0" y="38414"/>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algn="ctr" defTabSz="466725">
              <a:lnSpc>
                <a:spcPct val="90000"/>
              </a:lnSpc>
              <a:spcBef>
                <a:spcPct val="0"/>
              </a:spcBef>
              <a:spcAft>
                <a:spcPct val="35000"/>
              </a:spcAft>
              <a:buClr>
                <a:srgbClr val="F0AB00"/>
              </a:buClr>
              <a:buSzPct val="100000"/>
            </a:pPr>
            <a:r>
              <a:rPr lang="en-US" sz="1050">
                <a:ln/>
                <a:latin typeface="Arial"/>
              </a:rPr>
              <a:t>Host based </a:t>
            </a:r>
            <a:br>
              <a:rPr lang="en-US" sz="1050">
                <a:ln/>
                <a:latin typeface="Arial"/>
              </a:rPr>
            </a:br>
            <a:r>
              <a:rPr lang="en-US" sz="1050">
                <a:ln/>
                <a:latin typeface="Arial"/>
              </a:rPr>
              <a:t>Routing</a:t>
            </a:r>
          </a:p>
        </p:txBody>
      </p:sp>
      <p:sp>
        <p:nvSpPr>
          <p:cNvPr id="25" name="Freeform: Shape 24">
            <a:extLst>
              <a:ext uri="{FF2B5EF4-FFF2-40B4-BE49-F238E27FC236}">
                <a16:creationId xmlns:a16="http://schemas.microsoft.com/office/drawing/2014/main" id="{CF059BB5-038F-12D1-057D-122AEE9EC2FD}"/>
              </a:ext>
            </a:extLst>
          </p:cNvPr>
          <p:cNvSpPr/>
          <p:nvPr/>
        </p:nvSpPr>
        <p:spPr>
          <a:xfrm>
            <a:off x="10008335" y="2033628"/>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marL="0" lvl="0" indent="0" algn="ctr" defTabSz="622300">
              <a:lnSpc>
                <a:spcPct val="90000"/>
              </a:lnSpc>
              <a:spcBef>
                <a:spcPct val="0"/>
              </a:spcBef>
              <a:spcAft>
                <a:spcPct val="35000"/>
              </a:spcAft>
              <a:buNone/>
            </a:pPr>
            <a:r>
              <a:rPr lang="en-US" sz="1050" b="0" kern="1200"/>
              <a:t>IP Geo-Blocking</a:t>
            </a:r>
          </a:p>
        </p:txBody>
      </p:sp>
      <p:sp>
        <p:nvSpPr>
          <p:cNvPr id="26" name="Freeform: Shape 25">
            <a:extLst>
              <a:ext uri="{FF2B5EF4-FFF2-40B4-BE49-F238E27FC236}">
                <a16:creationId xmlns:a16="http://schemas.microsoft.com/office/drawing/2014/main" id="{155F87C7-3530-F9F8-4DBE-9603E4AC1960}"/>
              </a:ext>
            </a:extLst>
          </p:cNvPr>
          <p:cNvSpPr/>
          <p:nvPr/>
        </p:nvSpPr>
        <p:spPr>
          <a:xfrm>
            <a:off x="10008335" y="2531927"/>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466725">
              <a:lnSpc>
                <a:spcPct val="90000"/>
              </a:lnSpc>
              <a:spcBef>
                <a:spcPct val="0"/>
              </a:spcBef>
              <a:spcAft>
                <a:spcPct val="35000"/>
              </a:spcAft>
              <a:buClr>
                <a:srgbClr val="F0AB00"/>
              </a:buClr>
              <a:buSzPct val="100000"/>
            </a:pPr>
            <a:r>
              <a:rPr lang="en-US" sz="1050">
                <a:ln/>
                <a:latin typeface="Arial"/>
              </a:rPr>
              <a:t>Upstream mTLS</a:t>
            </a:r>
          </a:p>
        </p:txBody>
      </p:sp>
      <p:sp>
        <p:nvSpPr>
          <p:cNvPr id="27" name="Freeform: Shape 26">
            <a:hlinkClick r:id="rId5" action="ppaction://hlinksldjump"/>
            <a:extLst>
              <a:ext uri="{FF2B5EF4-FFF2-40B4-BE49-F238E27FC236}">
                <a16:creationId xmlns:a16="http://schemas.microsoft.com/office/drawing/2014/main" id="{7CD78373-7B34-3DE2-3D53-07F37C4A745C}"/>
              </a:ext>
            </a:extLst>
          </p:cNvPr>
          <p:cNvSpPr/>
          <p:nvPr/>
        </p:nvSpPr>
        <p:spPr>
          <a:xfrm>
            <a:off x="10008335" y="3030226"/>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pPr>
            <a:r>
              <a:rPr lang="en-US" sz="1050">
                <a:ln/>
                <a:latin typeface="Arial"/>
              </a:rPr>
              <a:t>Rate limit</a:t>
            </a:r>
          </a:p>
        </p:txBody>
      </p:sp>
      <p:sp>
        <p:nvSpPr>
          <p:cNvPr id="28" name="Freeform: Shape 27">
            <a:extLst>
              <a:ext uri="{FF2B5EF4-FFF2-40B4-BE49-F238E27FC236}">
                <a16:creationId xmlns:a16="http://schemas.microsoft.com/office/drawing/2014/main" id="{5AF09C6A-BAE9-BE83-EE71-2E5ACF51B5E1}"/>
              </a:ext>
            </a:extLst>
          </p:cNvPr>
          <p:cNvSpPr/>
          <p:nvPr/>
        </p:nvSpPr>
        <p:spPr>
          <a:xfrm>
            <a:off x="10008335" y="3528524"/>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pPr>
            <a:r>
              <a:rPr lang="en-US" sz="1050">
                <a:ln/>
                <a:latin typeface="Arial"/>
              </a:rPr>
              <a:t>Authentication</a:t>
            </a:r>
            <a:br>
              <a:rPr lang="en-US" sz="1050">
                <a:ln/>
                <a:latin typeface="Arial"/>
              </a:rPr>
            </a:br>
            <a:r>
              <a:rPr lang="en-US" sz="800">
                <a:ln/>
                <a:latin typeface="Arial"/>
              </a:rPr>
              <a:t>e.g. JWT validation, (soon) client certificate</a:t>
            </a:r>
          </a:p>
        </p:txBody>
      </p:sp>
      <p:sp>
        <p:nvSpPr>
          <p:cNvPr id="31" name="Freeform: Shape 30">
            <a:extLst>
              <a:ext uri="{FF2B5EF4-FFF2-40B4-BE49-F238E27FC236}">
                <a16:creationId xmlns:a16="http://schemas.microsoft.com/office/drawing/2014/main" id="{FBDD7F43-1625-BC2C-1580-2FBFE2DEB6C7}"/>
              </a:ext>
            </a:extLst>
          </p:cNvPr>
          <p:cNvSpPr/>
          <p:nvPr/>
        </p:nvSpPr>
        <p:spPr>
          <a:xfrm>
            <a:off x="1096576" y="2530101"/>
            <a:ext cx="1332000" cy="421200"/>
          </a:xfrm>
          <a:custGeom>
            <a:avLst/>
            <a:gdLst>
              <a:gd name="connsiteX0" fmla="*/ 0 w 893393"/>
              <a:gd name="connsiteY0" fmla="*/ 38414 h 384144"/>
              <a:gd name="connsiteX1" fmla="*/ 38414 w 893393"/>
              <a:gd name="connsiteY1" fmla="*/ 0 h 384144"/>
              <a:gd name="connsiteX2" fmla="*/ 854979 w 893393"/>
              <a:gd name="connsiteY2" fmla="*/ 0 h 384144"/>
              <a:gd name="connsiteX3" fmla="*/ 893393 w 893393"/>
              <a:gd name="connsiteY3" fmla="*/ 38414 h 384144"/>
              <a:gd name="connsiteX4" fmla="*/ 893393 w 893393"/>
              <a:gd name="connsiteY4" fmla="*/ 345730 h 384144"/>
              <a:gd name="connsiteX5" fmla="*/ 854979 w 893393"/>
              <a:gd name="connsiteY5" fmla="*/ 384144 h 384144"/>
              <a:gd name="connsiteX6" fmla="*/ 38414 w 893393"/>
              <a:gd name="connsiteY6" fmla="*/ 384144 h 384144"/>
              <a:gd name="connsiteX7" fmla="*/ 0 w 893393"/>
              <a:gd name="connsiteY7" fmla="*/ 345730 h 384144"/>
              <a:gd name="connsiteX8" fmla="*/ 0 w 893393"/>
              <a:gd name="connsiteY8" fmla="*/ 38414 h 3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393" h="384144">
                <a:moveTo>
                  <a:pt x="0" y="38414"/>
                </a:moveTo>
                <a:cubicBezTo>
                  <a:pt x="0" y="17199"/>
                  <a:pt x="17199" y="0"/>
                  <a:pt x="38414" y="0"/>
                </a:cubicBezTo>
                <a:lnTo>
                  <a:pt x="854979" y="0"/>
                </a:lnTo>
                <a:cubicBezTo>
                  <a:pt x="876194" y="0"/>
                  <a:pt x="893393" y="17199"/>
                  <a:pt x="893393" y="38414"/>
                </a:cubicBezTo>
                <a:lnTo>
                  <a:pt x="893393" y="345730"/>
                </a:lnTo>
                <a:cubicBezTo>
                  <a:pt x="893393" y="366945"/>
                  <a:pt x="876194" y="384144"/>
                  <a:pt x="854979" y="384144"/>
                </a:cubicBezTo>
                <a:lnTo>
                  <a:pt x="38414" y="384144"/>
                </a:lnTo>
                <a:cubicBezTo>
                  <a:pt x="17199" y="384144"/>
                  <a:pt x="0" y="366945"/>
                  <a:pt x="0" y="345730"/>
                </a:cubicBezTo>
                <a:lnTo>
                  <a:pt x="0" y="38414"/>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marL="0" lvl="0" indent="0" algn="ctr" defTabSz="466725">
              <a:lnSpc>
                <a:spcPct val="90000"/>
              </a:lnSpc>
              <a:spcBef>
                <a:spcPct val="0"/>
              </a:spcBef>
              <a:spcAft>
                <a:spcPct val="35000"/>
              </a:spcAft>
              <a:buClr>
                <a:srgbClr val="F0AB00"/>
              </a:buClr>
              <a:buSzPct val="100000"/>
              <a:buFont typeface="Wingdings" pitchFamily="2" charset="2"/>
              <a:buNone/>
            </a:pPr>
            <a:r>
              <a:rPr kumimoji="0" lang="en-US" sz="1050" i="0" u="none" strike="noStrike" kern="1200" cap="none" spc="0" normalizeH="0" baseline="0" noProof="0">
                <a:ln/>
                <a:effectLst/>
                <a:uLnTx/>
                <a:uFillTx/>
                <a:latin typeface="Arial"/>
                <a:ea typeface="+mn-ea"/>
                <a:cs typeface="+mn-cs"/>
              </a:rPr>
              <a:t>Certificated management</a:t>
            </a:r>
            <a:endParaRPr lang="en-US" sz="1050" kern="1200"/>
          </a:p>
        </p:txBody>
      </p:sp>
      <p:sp>
        <p:nvSpPr>
          <p:cNvPr id="3" name="Title 2">
            <a:extLst>
              <a:ext uri="{FF2B5EF4-FFF2-40B4-BE49-F238E27FC236}">
                <a16:creationId xmlns:a16="http://schemas.microsoft.com/office/drawing/2014/main" id="{7297BE19-B015-466D-93F5-F75B3E3A4168}"/>
              </a:ext>
            </a:extLst>
          </p:cNvPr>
          <p:cNvSpPr>
            <a:spLocks noGrp="1"/>
          </p:cNvSpPr>
          <p:nvPr>
            <p:ph type="title"/>
          </p:nvPr>
        </p:nvSpPr>
        <p:spPr/>
        <p:txBody>
          <a:bodyPr/>
          <a:lstStyle/>
          <a:p>
            <a:r>
              <a:rPr lang="en-US" sz="2350">
                <a:cs typeface="Arial"/>
              </a:rPr>
              <a:t>UGW Current Features </a:t>
            </a:r>
            <a:endParaRPr lang="en-US"/>
          </a:p>
        </p:txBody>
      </p:sp>
      <p:sp>
        <p:nvSpPr>
          <p:cNvPr id="32" name="Freeform: Shape 31">
            <a:extLst>
              <a:ext uri="{FF2B5EF4-FFF2-40B4-BE49-F238E27FC236}">
                <a16:creationId xmlns:a16="http://schemas.microsoft.com/office/drawing/2014/main" id="{A8E0D3D8-573D-575A-8F46-3F2BD8ED2F32}"/>
              </a:ext>
            </a:extLst>
          </p:cNvPr>
          <p:cNvSpPr/>
          <p:nvPr/>
        </p:nvSpPr>
        <p:spPr>
          <a:xfrm>
            <a:off x="6285467" y="2033628"/>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pPr>
            <a:r>
              <a:rPr lang="en-US" sz="1050"/>
              <a:t>Generate and log Request ID</a:t>
            </a:r>
          </a:p>
        </p:txBody>
      </p:sp>
      <p:sp>
        <p:nvSpPr>
          <p:cNvPr id="33" name="Freeform: Shape 32">
            <a:extLst>
              <a:ext uri="{FF2B5EF4-FFF2-40B4-BE49-F238E27FC236}">
                <a16:creationId xmlns:a16="http://schemas.microsoft.com/office/drawing/2014/main" id="{4E8C669E-8CFA-AA41-44EC-DB26E57EE75F}"/>
              </a:ext>
            </a:extLst>
          </p:cNvPr>
          <p:cNvSpPr/>
          <p:nvPr/>
        </p:nvSpPr>
        <p:spPr>
          <a:xfrm>
            <a:off x="6285467" y="2528877"/>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marL="0" lvl="0" indent="0" algn="ctr" defTabSz="622300">
              <a:lnSpc>
                <a:spcPct val="90000"/>
              </a:lnSpc>
              <a:spcBef>
                <a:spcPct val="0"/>
              </a:spcBef>
              <a:spcAft>
                <a:spcPct val="35000"/>
              </a:spcAft>
              <a:buNone/>
            </a:pPr>
            <a:r>
              <a:rPr lang="en-US" sz="1050"/>
              <a:t>Performance and SLA metrics</a:t>
            </a:r>
            <a:endParaRPr lang="en-US" sz="1050" b="0" kern="1200"/>
          </a:p>
        </p:txBody>
      </p:sp>
      <p:sp>
        <p:nvSpPr>
          <p:cNvPr id="34" name="Freeform: Shape 33">
            <a:extLst>
              <a:ext uri="{FF2B5EF4-FFF2-40B4-BE49-F238E27FC236}">
                <a16:creationId xmlns:a16="http://schemas.microsoft.com/office/drawing/2014/main" id="{C6DB7E15-7610-84FF-32F9-FB4DF3C5D31E}"/>
              </a:ext>
            </a:extLst>
          </p:cNvPr>
          <p:cNvSpPr/>
          <p:nvPr/>
        </p:nvSpPr>
        <p:spPr>
          <a:xfrm>
            <a:off x="6285467" y="3025351"/>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pPr>
            <a:r>
              <a:rPr lang="en-US" sz="1050"/>
              <a:t>Tenant identification </a:t>
            </a:r>
            <a:r>
              <a:rPr lang="en-US" sz="800"/>
              <a:t>based on custom expression</a:t>
            </a:r>
            <a:endParaRPr lang="en-US" sz="1050"/>
          </a:p>
        </p:txBody>
      </p:sp>
      <p:sp>
        <p:nvSpPr>
          <p:cNvPr id="45" name="Freeform: Shape 44">
            <a:extLst>
              <a:ext uri="{FF2B5EF4-FFF2-40B4-BE49-F238E27FC236}">
                <a16:creationId xmlns:a16="http://schemas.microsoft.com/office/drawing/2014/main" id="{4121EC8D-EFFA-BA34-A707-05339BDAB799}"/>
              </a:ext>
            </a:extLst>
          </p:cNvPr>
          <p:cNvSpPr/>
          <p:nvPr/>
        </p:nvSpPr>
        <p:spPr>
          <a:xfrm>
            <a:off x="2616329" y="2530101"/>
            <a:ext cx="1332000" cy="421200"/>
          </a:xfrm>
          <a:custGeom>
            <a:avLst/>
            <a:gdLst>
              <a:gd name="connsiteX0" fmla="*/ 0 w 893393"/>
              <a:gd name="connsiteY0" fmla="*/ 38414 h 384144"/>
              <a:gd name="connsiteX1" fmla="*/ 38414 w 893393"/>
              <a:gd name="connsiteY1" fmla="*/ 0 h 384144"/>
              <a:gd name="connsiteX2" fmla="*/ 854979 w 893393"/>
              <a:gd name="connsiteY2" fmla="*/ 0 h 384144"/>
              <a:gd name="connsiteX3" fmla="*/ 893393 w 893393"/>
              <a:gd name="connsiteY3" fmla="*/ 38414 h 384144"/>
              <a:gd name="connsiteX4" fmla="*/ 893393 w 893393"/>
              <a:gd name="connsiteY4" fmla="*/ 345730 h 384144"/>
              <a:gd name="connsiteX5" fmla="*/ 854979 w 893393"/>
              <a:gd name="connsiteY5" fmla="*/ 384144 h 384144"/>
              <a:gd name="connsiteX6" fmla="*/ 38414 w 893393"/>
              <a:gd name="connsiteY6" fmla="*/ 384144 h 384144"/>
              <a:gd name="connsiteX7" fmla="*/ 0 w 893393"/>
              <a:gd name="connsiteY7" fmla="*/ 345730 h 384144"/>
              <a:gd name="connsiteX8" fmla="*/ 0 w 893393"/>
              <a:gd name="connsiteY8" fmla="*/ 38414 h 3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393" h="384144">
                <a:moveTo>
                  <a:pt x="0" y="38414"/>
                </a:moveTo>
                <a:cubicBezTo>
                  <a:pt x="0" y="17199"/>
                  <a:pt x="17199" y="0"/>
                  <a:pt x="38414" y="0"/>
                </a:cubicBezTo>
                <a:lnTo>
                  <a:pt x="854979" y="0"/>
                </a:lnTo>
                <a:cubicBezTo>
                  <a:pt x="876194" y="0"/>
                  <a:pt x="893393" y="17199"/>
                  <a:pt x="893393" y="38414"/>
                </a:cubicBezTo>
                <a:lnTo>
                  <a:pt x="893393" y="345730"/>
                </a:lnTo>
                <a:cubicBezTo>
                  <a:pt x="893393" y="366945"/>
                  <a:pt x="876194" y="384144"/>
                  <a:pt x="854979" y="384144"/>
                </a:cubicBezTo>
                <a:lnTo>
                  <a:pt x="38414" y="384144"/>
                </a:lnTo>
                <a:cubicBezTo>
                  <a:pt x="17199" y="384144"/>
                  <a:pt x="0" y="366945"/>
                  <a:pt x="0" y="345730"/>
                </a:cubicBezTo>
                <a:lnTo>
                  <a:pt x="0" y="38414"/>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algn="ctr" defTabSz="466725">
              <a:lnSpc>
                <a:spcPct val="90000"/>
              </a:lnSpc>
              <a:spcBef>
                <a:spcPct val="0"/>
              </a:spcBef>
              <a:spcAft>
                <a:spcPct val="35000"/>
              </a:spcAft>
              <a:buClr>
                <a:srgbClr val="F0AB00"/>
              </a:buClr>
              <a:buSzPct val="100000"/>
            </a:pPr>
            <a:r>
              <a:rPr lang="en-US" sz="1050">
                <a:ln/>
                <a:latin typeface="Arial"/>
              </a:rPr>
              <a:t>Path and variable based routing</a:t>
            </a:r>
            <a:br>
              <a:rPr lang="en-US" sz="1050">
                <a:ln/>
                <a:latin typeface="Arial"/>
              </a:rPr>
            </a:br>
            <a:r>
              <a:rPr lang="en-US" sz="1050">
                <a:ln/>
                <a:latin typeface="Arial"/>
              </a:rPr>
              <a:t>(Common Domain)</a:t>
            </a:r>
          </a:p>
        </p:txBody>
      </p:sp>
      <p:sp>
        <p:nvSpPr>
          <p:cNvPr id="46" name="Freeform: Shape 45">
            <a:extLst>
              <a:ext uri="{FF2B5EF4-FFF2-40B4-BE49-F238E27FC236}">
                <a16:creationId xmlns:a16="http://schemas.microsoft.com/office/drawing/2014/main" id="{56B4DDF5-E46C-3F31-C4F6-C62EDB914673}"/>
              </a:ext>
            </a:extLst>
          </p:cNvPr>
          <p:cNvSpPr/>
          <p:nvPr/>
        </p:nvSpPr>
        <p:spPr>
          <a:xfrm>
            <a:off x="4757032" y="3026575"/>
            <a:ext cx="1332000" cy="421200"/>
          </a:xfrm>
          <a:custGeom>
            <a:avLst/>
            <a:gdLst>
              <a:gd name="connsiteX0" fmla="*/ 0 w 2717217"/>
              <a:gd name="connsiteY0" fmla="*/ 64800 h 647999"/>
              <a:gd name="connsiteX1" fmla="*/ 64800 w 2717217"/>
              <a:gd name="connsiteY1" fmla="*/ 0 h 647999"/>
              <a:gd name="connsiteX2" fmla="*/ 2652417 w 2717217"/>
              <a:gd name="connsiteY2" fmla="*/ 0 h 647999"/>
              <a:gd name="connsiteX3" fmla="*/ 2717217 w 2717217"/>
              <a:gd name="connsiteY3" fmla="*/ 64800 h 647999"/>
              <a:gd name="connsiteX4" fmla="*/ 2717217 w 2717217"/>
              <a:gd name="connsiteY4" fmla="*/ 583199 h 647999"/>
              <a:gd name="connsiteX5" fmla="*/ 2652417 w 2717217"/>
              <a:gd name="connsiteY5" fmla="*/ 647999 h 647999"/>
              <a:gd name="connsiteX6" fmla="*/ 64800 w 2717217"/>
              <a:gd name="connsiteY6" fmla="*/ 647999 h 647999"/>
              <a:gd name="connsiteX7" fmla="*/ 0 w 2717217"/>
              <a:gd name="connsiteY7" fmla="*/ 583199 h 647999"/>
              <a:gd name="connsiteX8" fmla="*/ 0 w 2717217"/>
              <a:gd name="connsiteY8" fmla="*/ 64800 h 64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647999">
                <a:moveTo>
                  <a:pt x="0" y="64800"/>
                </a:moveTo>
                <a:cubicBezTo>
                  <a:pt x="0" y="29012"/>
                  <a:pt x="29012" y="0"/>
                  <a:pt x="64800" y="0"/>
                </a:cubicBezTo>
                <a:lnTo>
                  <a:pt x="2652417" y="0"/>
                </a:lnTo>
                <a:cubicBezTo>
                  <a:pt x="2688205" y="0"/>
                  <a:pt x="2717217" y="29012"/>
                  <a:pt x="2717217" y="64800"/>
                </a:cubicBezTo>
                <a:lnTo>
                  <a:pt x="2717217" y="583199"/>
                </a:lnTo>
                <a:cubicBezTo>
                  <a:pt x="2717217" y="618987"/>
                  <a:pt x="2688205" y="647999"/>
                  <a:pt x="2652417" y="647999"/>
                </a:cubicBezTo>
                <a:lnTo>
                  <a:pt x="64800" y="647999"/>
                </a:lnTo>
                <a:cubicBezTo>
                  <a:pt x="29012" y="647999"/>
                  <a:pt x="0" y="618987"/>
                  <a:pt x="0" y="583199"/>
                </a:cubicBezTo>
                <a:lnTo>
                  <a:pt x="0" y="64800"/>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algn="ctr" defTabSz="466725">
              <a:lnSpc>
                <a:spcPct val="90000"/>
              </a:lnSpc>
              <a:spcBef>
                <a:spcPct val="0"/>
              </a:spcBef>
              <a:spcAft>
                <a:spcPct val="35000"/>
              </a:spcAft>
              <a:buClr>
                <a:srgbClr val="F0AB00"/>
              </a:buClr>
              <a:buSzPct val="100000"/>
            </a:pPr>
            <a:r>
              <a:rPr lang="en-US" sz="1050">
                <a:ln/>
                <a:latin typeface="Arial"/>
              </a:rPr>
              <a:t>Custom Variables based on request attributes</a:t>
            </a:r>
          </a:p>
        </p:txBody>
      </p:sp>
      <p:sp>
        <p:nvSpPr>
          <p:cNvPr id="47" name="Freeform: Shape 46">
            <a:extLst>
              <a:ext uri="{FF2B5EF4-FFF2-40B4-BE49-F238E27FC236}">
                <a16:creationId xmlns:a16="http://schemas.microsoft.com/office/drawing/2014/main" id="{477B0A62-C615-D425-1A6C-C529EE9B90BD}"/>
              </a:ext>
            </a:extLst>
          </p:cNvPr>
          <p:cNvSpPr/>
          <p:nvPr/>
        </p:nvSpPr>
        <p:spPr>
          <a:xfrm>
            <a:off x="8478570" y="3528524"/>
            <a:ext cx="1332000" cy="422424"/>
          </a:xfrm>
          <a:custGeom>
            <a:avLst/>
            <a:gdLst>
              <a:gd name="connsiteX0" fmla="*/ 0 w 2717217"/>
              <a:gd name="connsiteY0" fmla="*/ 42242 h 422424"/>
              <a:gd name="connsiteX1" fmla="*/ 42242 w 2717217"/>
              <a:gd name="connsiteY1" fmla="*/ 0 h 422424"/>
              <a:gd name="connsiteX2" fmla="*/ 2674975 w 2717217"/>
              <a:gd name="connsiteY2" fmla="*/ 0 h 422424"/>
              <a:gd name="connsiteX3" fmla="*/ 2717217 w 2717217"/>
              <a:gd name="connsiteY3" fmla="*/ 42242 h 422424"/>
              <a:gd name="connsiteX4" fmla="*/ 2717217 w 2717217"/>
              <a:gd name="connsiteY4" fmla="*/ 380182 h 422424"/>
              <a:gd name="connsiteX5" fmla="*/ 2674975 w 2717217"/>
              <a:gd name="connsiteY5" fmla="*/ 422424 h 422424"/>
              <a:gd name="connsiteX6" fmla="*/ 42242 w 2717217"/>
              <a:gd name="connsiteY6" fmla="*/ 422424 h 422424"/>
              <a:gd name="connsiteX7" fmla="*/ 0 w 2717217"/>
              <a:gd name="connsiteY7" fmla="*/ 380182 h 422424"/>
              <a:gd name="connsiteX8" fmla="*/ 0 w 2717217"/>
              <a:gd name="connsiteY8" fmla="*/ 42242 h 4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217" h="422424">
                <a:moveTo>
                  <a:pt x="0" y="42242"/>
                </a:moveTo>
                <a:cubicBezTo>
                  <a:pt x="0" y="18912"/>
                  <a:pt x="18912" y="0"/>
                  <a:pt x="42242" y="0"/>
                </a:cubicBezTo>
                <a:lnTo>
                  <a:pt x="2674975" y="0"/>
                </a:lnTo>
                <a:cubicBezTo>
                  <a:pt x="2698305" y="0"/>
                  <a:pt x="2717217" y="18912"/>
                  <a:pt x="2717217" y="42242"/>
                </a:cubicBezTo>
                <a:lnTo>
                  <a:pt x="2717217" y="380182"/>
                </a:lnTo>
                <a:cubicBezTo>
                  <a:pt x="2717217" y="403512"/>
                  <a:pt x="2698305" y="422424"/>
                  <a:pt x="2674975" y="422424"/>
                </a:cubicBezTo>
                <a:lnTo>
                  <a:pt x="42242" y="422424"/>
                </a:lnTo>
                <a:cubicBezTo>
                  <a:pt x="18912" y="422424"/>
                  <a:pt x="0" y="403512"/>
                  <a:pt x="0" y="380182"/>
                </a:cubicBezTo>
                <a:lnTo>
                  <a:pt x="0" y="42242"/>
                </a:lnTo>
                <a:close/>
              </a:path>
            </a:pathLst>
          </a:custGeom>
          <a:solidFill>
            <a:srgbClr val="CBDBEF"/>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7932" tIns="39042" rIns="47932" bIns="39042" numCol="1" spcCol="1270" anchor="ctr" anchorCtr="0">
            <a:noAutofit/>
          </a:bodyPr>
          <a:lstStyle/>
          <a:p>
            <a:pPr algn="ctr" defTabSz="622300">
              <a:lnSpc>
                <a:spcPct val="90000"/>
              </a:lnSpc>
              <a:spcBef>
                <a:spcPct val="0"/>
              </a:spcBef>
              <a:spcAft>
                <a:spcPct val="35000"/>
              </a:spcAft>
            </a:pPr>
            <a:r>
              <a:rPr lang="en-US" sz="1050">
                <a:ln/>
                <a:latin typeface="Arial"/>
              </a:rPr>
              <a:t>Limiting Requests by Size</a:t>
            </a:r>
          </a:p>
        </p:txBody>
      </p:sp>
      <p:sp>
        <p:nvSpPr>
          <p:cNvPr id="54" name="TextBox 53">
            <a:extLst>
              <a:ext uri="{FF2B5EF4-FFF2-40B4-BE49-F238E27FC236}">
                <a16:creationId xmlns:a16="http://schemas.microsoft.com/office/drawing/2014/main" id="{225F1B40-BC38-8C36-B220-F20208D0B22B}"/>
              </a:ext>
            </a:extLst>
          </p:cNvPr>
          <p:cNvSpPr txBox="1"/>
          <p:nvPr/>
        </p:nvSpPr>
        <p:spPr>
          <a:xfrm>
            <a:off x="8222045" y="6339866"/>
            <a:ext cx="3481849" cy="338554"/>
          </a:xfrm>
          <a:prstGeom prst="rect">
            <a:avLst/>
          </a:prstGeom>
          <a:noFill/>
        </p:spPr>
        <p:txBody>
          <a:bodyPr wrap="square">
            <a:spAutoFit/>
          </a:bodyPr>
          <a:lstStyle/>
          <a:p>
            <a:r>
              <a:rPr lang="en-US" sz="1600">
                <a:hlinkClick r:id="rId6"/>
              </a:rPr>
              <a:t>Main Features | Unified Gateway</a:t>
            </a:r>
            <a:endParaRPr lang="en-US" sz="1600"/>
          </a:p>
        </p:txBody>
      </p:sp>
      <p:sp>
        <p:nvSpPr>
          <p:cNvPr id="2" name="Freeform: Shape 1">
            <a:extLst>
              <a:ext uri="{FF2B5EF4-FFF2-40B4-BE49-F238E27FC236}">
                <a16:creationId xmlns:a16="http://schemas.microsoft.com/office/drawing/2014/main" id="{0C4B8203-43EE-3CD3-6BDA-F682AB489414}"/>
              </a:ext>
            </a:extLst>
          </p:cNvPr>
          <p:cNvSpPr/>
          <p:nvPr/>
        </p:nvSpPr>
        <p:spPr>
          <a:xfrm>
            <a:off x="2612102" y="3026939"/>
            <a:ext cx="1332000" cy="421200"/>
          </a:xfrm>
          <a:custGeom>
            <a:avLst/>
            <a:gdLst>
              <a:gd name="connsiteX0" fmla="*/ 0 w 893393"/>
              <a:gd name="connsiteY0" fmla="*/ 38414 h 384144"/>
              <a:gd name="connsiteX1" fmla="*/ 38414 w 893393"/>
              <a:gd name="connsiteY1" fmla="*/ 0 h 384144"/>
              <a:gd name="connsiteX2" fmla="*/ 854979 w 893393"/>
              <a:gd name="connsiteY2" fmla="*/ 0 h 384144"/>
              <a:gd name="connsiteX3" fmla="*/ 893393 w 893393"/>
              <a:gd name="connsiteY3" fmla="*/ 38414 h 384144"/>
              <a:gd name="connsiteX4" fmla="*/ 893393 w 893393"/>
              <a:gd name="connsiteY4" fmla="*/ 345730 h 384144"/>
              <a:gd name="connsiteX5" fmla="*/ 854979 w 893393"/>
              <a:gd name="connsiteY5" fmla="*/ 384144 h 384144"/>
              <a:gd name="connsiteX6" fmla="*/ 38414 w 893393"/>
              <a:gd name="connsiteY6" fmla="*/ 384144 h 384144"/>
              <a:gd name="connsiteX7" fmla="*/ 0 w 893393"/>
              <a:gd name="connsiteY7" fmla="*/ 345730 h 384144"/>
              <a:gd name="connsiteX8" fmla="*/ 0 w 893393"/>
              <a:gd name="connsiteY8" fmla="*/ 38414 h 384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393" h="384144">
                <a:moveTo>
                  <a:pt x="0" y="38414"/>
                </a:moveTo>
                <a:cubicBezTo>
                  <a:pt x="0" y="17199"/>
                  <a:pt x="17199" y="0"/>
                  <a:pt x="38414" y="0"/>
                </a:cubicBezTo>
                <a:lnTo>
                  <a:pt x="854979" y="0"/>
                </a:lnTo>
                <a:cubicBezTo>
                  <a:pt x="876194" y="0"/>
                  <a:pt x="893393" y="17199"/>
                  <a:pt x="893393" y="38414"/>
                </a:cubicBezTo>
                <a:lnTo>
                  <a:pt x="893393" y="345730"/>
                </a:lnTo>
                <a:cubicBezTo>
                  <a:pt x="893393" y="366945"/>
                  <a:pt x="876194" y="384144"/>
                  <a:pt x="854979" y="384144"/>
                </a:cubicBezTo>
                <a:lnTo>
                  <a:pt x="38414" y="384144"/>
                </a:lnTo>
                <a:cubicBezTo>
                  <a:pt x="17199" y="384144"/>
                  <a:pt x="0" y="366945"/>
                  <a:pt x="0" y="345730"/>
                </a:cubicBezTo>
                <a:lnTo>
                  <a:pt x="0" y="38414"/>
                </a:lnTo>
                <a:close/>
              </a:path>
            </a:pathLst>
          </a:custGeom>
          <a:solidFill>
            <a:srgbClr val="F0F5FA"/>
          </a:solidFill>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91" tIns="32206" rIns="39191" bIns="32206" numCol="1" spcCol="1270" anchor="ctr" anchorCtr="0">
            <a:noAutofit/>
          </a:bodyPr>
          <a:lstStyle/>
          <a:p>
            <a:pPr algn="ctr" defTabSz="466725">
              <a:lnSpc>
                <a:spcPct val="90000"/>
              </a:lnSpc>
              <a:spcBef>
                <a:spcPct val="0"/>
              </a:spcBef>
              <a:spcAft>
                <a:spcPct val="35000"/>
              </a:spcAft>
              <a:buClr>
                <a:srgbClr val="F0AB00"/>
              </a:buClr>
              <a:buSzPct val="100000"/>
            </a:pPr>
            <a:r>
              <a:rPr lang="en-US" sz="1050">
                <a:ln/>
                <a:latin typeface="Arial"/>
              </a:rPr>
              <a:t>Headers manipulation (add)</a:t>
            </a:r>
          </a:p>
        </p:txBody>
      </p:sp>
    </p:spTree>
    <p:extLst>
      <p:ext uri="{BB962C8B-B14F-4D97-AF65-F5344CB8AC3E}">
        <p14:creationId xmlns:p14="http://schemas.microsoft.com/office/powerpoint/2010/main" val="7463619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7CD879F-2BA4-A631-ACC1-8DFE52A1F8C8}"/>
              </a:ext>
            </a:extLst>
          </p:cNvPr>
          <p:cNvSpPr>
            <a:spLocks noGrp="1"/>
          </p:cNvSpPr>
          <p:nvPr>
            <p:ph type="body" sz="quarter" idx="10"/>
          </p:nvPr>
        </p:nvSpPr>
        <p:spPr/>
        <p:txBody>
          <a:bodyPr>
            <a:normAutofit/>
          </a:bodyPr>
          <a:lstStyle/>
          <a:p>
            <a:pPr marL="342900" indent="-342900">
              <a:buFont typeface="Arial" panose="020B0604020202020204" pitchFamily="34" charset="0"/>
              <a:buChar char="•"/>
            </a:pPr>
            <a:r>
              <a:rPr lang="en-US"/>
              <a:t>UGW support </a:t>
            </a:r>
            <a:r>
              <a:rPr lang="en-US" b="1"/>
              <a:t>Domain Intercepting via DNS Delegation</a:t>
            </a:r>
          </a:p>
          <a:p>
            <a:pPr marL="522864" lvl="1" indent="-342900">
              <a:buFont typeface="Arial" panose="020B0604020202020204" pitchFamily="34" charset="0"/>
              <a:buChar char="•"/>
            </a:pPr>
            <a:r>
              <a:rPr lang="en-US"/>
              <a:t>By creating a CNAME record on your DNS account e.g.</a:t>
            </a:r>
            <a:br>
              <a:rPr lang="en-US"/>
            </a:br>
            <a:r>
              <a:rPr lang="en-US" err="1">
                <a:solidFill>
                  <a:schemeClr val="accent3"/>
                </a:solidFill>
                <a:latin typeface="Consolas" panose="020B0609020204030204" pitchFamily="49" charset="0"/>
              </a:rPr>
              <a:t>application.cloud.sap</a:t>
            </a:r>
            <a:r>
              <a:rPr lang="en-US">
                <a:solidFill>
                  <a:schemeClr val="accent3"/>
                </a:solidFill>
                <a:latin typeface="Consolas" panose="020B0609020204030204" pitchFamily="49" charset="0"/>
              </a:rPr>
              <a:t> CNAME </a:t>
            </a:r>
            <a:r>
              <a:rPr lang="en-US" err="1">
                <a:solidFill>
                  <a:schemeClr val="accent3"/>
                </a:solidFill>
                <a:latin typeface="Consolas" panose="020B0609020204030204" pitchFamily="49" charset="0"/>
              </a:rPr>
              <a:t>application.cloud.sap.alias.live.pu.ugw.cloud.sap</a:t>
            </a:r>
            <a:endParaRPr lang="en-US">
              <a:solidFill>
                <a:schemeClr val="accent3"/>
              </a:solidFill>
              <a:latin typeface="Consolas" panose="020B0609020204030204" pitchFamily="49" charset="0"/>
            </a:endParaRPr>
          </a:p>
          <a:p>
            <a:pPr marL="522864" lvl="1" indent="-342900">
              <a:buFont typeface="Arial" panose="020B0604020202020204" pitchFamily="34" charset="0"/>
              <a:buChar char="•"/>
            </a:pPr>
            <a:r>
              <a:rPr lang="en-US"/>
              <a:t>The delegation is a non-disruptive change for the clients and reflected based on the TTL to all clients</a:t>
            </a:r>
          </a:p>
          <a:p>
            <a:pPr marL="342900" indent="-342900">
              <a:buFont typeface="Arial" panose="020B0604020202020204" pitchFamily="34" charset="0"/>
              <a:buChar char="•"/>
            </a:pPr>
            <a:r>
              <a:rPr lang="en-US"/>
              <a:t>UGW automatically manages the certificate lifecycle and follow the SAP’s guidelines. </a:t>
            </a:r>
          </a:p>
          <a:p>
            <a:pPr marL="522864" lvl="1" indent="-342900">
              <a:buFont typeface="Arial" panose="020B0604020202020204" pitchFamily="34" charset="0"/>
              <a:buChar char="•"/>
            </a:pPr>
            <a:r>
              <a:rPr lang="en-US"/>
              <a:t>The certificate is issued from the Certificate Authorities (CAs): </a:t>
            </a:r>
            <a:r>
              <a:rPr lang="en-US" b="0" i="0" u="none" strike="noStrike">
                <a:solidFill>
                  <a:srgbClr val="3176D9"/>
                </a:solidFill>
                <a:effectLst/>
                <a:hlinkClick r:id="rId2"/>
              </a:rPr>
              <a:t>DigiCert</a:t>
            </a:r>
            <a:r>
              <a:rPr lang="en-US" b="0" i="0">
                <a:solidFill>
                  <a:srgbClr val="222222"/>
                </a:solidFill>
                <a:effectLst/>
              </a:rPr>
              <a:t> or </a:t>
            </a:r>
            <a:r>
              <a:rPr lang="en-US" b="0" i="0" u="none" strike="noStrike">
                <a:solidFill>
                  <a:srgbClr val="3176D9"/>
                </a:solidFill>
                <a:effectLst/>
                <a:hlinkClick r:id="rId3"/>
              </a:rPr>
              <a:t>Let’s Encrypt</a:t>
            </a:r>
            <a:r>
              <a:rPr lang="en-US" b="0" i="0">
                <a:solidFill>
                  <a:srgbClr val="222222"/>
                </a:solidFill>
                <a:effectLst/>
              </a:rPr>
              <a:t>. </a:t>
            </a:r>
          </a:p>
          <a:p>
            <a:pPr marL="342900" indent="-342900">
              <a:buFont typeface="Arial" panose="020B0604020202020204" pitchFamily="34" charset="0"/>
              <a:buChar char="•"/>
            </a:pPr>
            <a:r>
              <a:rPr lang="en-US"/>
              <a:t>After UGW processing the request is routed to the defined upstream. UGW supports:</a:t>
            </a:r>
          </a:p>
          <a:p>
            <a:pPr marL="522864" lvl="1" indent="-342900">
              <a:buFont typeface="Arial" panose="020B0604020202020204" pitchFamily="34" charset="0"/>
              <a:buChar char="•"/>
            </a:pPr>
            <a:r>
              <a:rPr lang="en-US"/>
              <a:t>Host based routing</a:t>
            </a:r>
          </a:p>
          <a:p>
            <a:pPr marL="522864" lvl="1" indent="-342900">
              <a:buFont typeface="Arial" panose="020B0604020202020204" pitchFamily="34" charset="0"/>
              <a:buChar char="•"/>
            </a:pPr>
            <a:r>
              <a:rPr lang="en-US"/>
              <a:t>Path based routing</a:t>
            </a:r>
          </a:p>
          <a:p>
            <a:pPr marL="522864" lvl="1" indent="-342900">
              <a:buFont typeface="Arial" panose="020B0604020202020204" pitchFamily="34" charset="0"/>
              <a:buChar char="•"/>
            </a:pPr>
            <a:r>
              <a:rPr lang="en-US"/>
              <a:t>Custom variable based routing</a:t>
            </a:r>
          </a:p>
          <a:p>
            <a:pPr lvl="1" indent="0">
              <a:buNone/>
            </a:pPr>
            <a:endParaRPr lang="en-US"/>
          </a:p>
        </p:txBody>
      </p:sp>
      <p:sp>
        <p:nvSpPr>
          <p:cNvPr id="2" name="Title 1">
            <a:extLst>
              <a:ext uri="{FF2B5EF4-FFF2-40B4-BE49-F238E27FC236}">
                <a16:creationId xmlns:a16="http://schemas.microsoft.com/office/drawing/2014/main" id="{49C47891-55E4-60D3-BBE5-7B7B159E212E}"/>
              </a:ext>
            </a:extLst>
          </p:cNvPr>
          <p:cNvSpPr>
            <a:spLocks noGrp="1"/>
          </p:cNvSpPr>
          <p:nvPr>
            <p:ph type="title"/>
          </p:nvPr>
        </p:nvSpPr>
        <p:spPr/>
        <p:txBody>
          <a:bodyPr/>
          <a:lstStyle/>
          <a:p>
            <a:r>
              <a:rPr lang="en-US"/>
              <a:t>DNS, Certificate and Routing</a:t>
            </a:r>
          </a:p>
        </p:txBody>
      </p:sp>
      <p:sp>
        <p:nvSpPr>
          <p:cNvPr id="9" name="Action Button: Go Home 8">
            <a:hlinkClick r:id="rId4" action="ppaction://hlinksldjump" highlightClick="1"/>
            <a:extLst>
              <a:ext uri="{FF2B5EF4-FFF2-40B4-BE49-F238E27FC236}">
                <a16:creationId xmlns:a16="http://schemas.microsoft.com/office/drawing/2014/main" id="{C91AAC23-EAE9-091F-D63F-17EE52D15F29}"/>
              </a:ext>
            </a:extLst>
          </p:cNvPr>
          <p:cNvSpPr/>
          <p:nvPr/>
        </p:nvSpPr>
        <p:spPr bwMode="gray">
          <a:xfrm>
            <a:off x="11597952" y="232751"/>
            <a:ext cx="324856" cy="289249"/>
          </a:xfrm>
          <a:prstGeom prst="actionButtonHome">
            <a:avLst/>
          </a:prstGeom>
          <a:ln>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9880890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4DFDFA74-7FD2-E5CE-52FB-AF8A2046EC6C}"/>
              </a:ext>
            </a:extLst>
          </p:cNvPr>
          <p:cNvSpPr>
            <a:spLocks noGrp="1"/>
          </p:cNvSpPr>
          <p:nvPr>
            <p:ph type="body" sz="quarter" idx="10"/>
          </p:nvPr>
        </p:nvSpPr>
        <p:spPr>
          <a:xfrm>
            <a:off x="504000" y="1620000"/>
            <a:ext cx="9815658" cy="4716000"/>
          </a:xfrm>
        </p:spPr>
        <p:txBody>
          <a:bodyPr/>
          <a:lstStyle/>
          <a:p>
            <a:pPr marL="342900" indent="-342900">
              <a:buFont typeface="Arial" panose="020B0604020202020204" pitchFamily="34" charset="0"/>
              <a:buChar char="•"/>
            </a:pPr>
            <a:r>
              <a:rPr lang="en-US"/>
              <a:t>UGW collects the HTTP Access Logs and sends them to your SIEM Splunk </a:t>
            </a:r>
          </a:p>
          <a:p>
            <a:pPr marL="342900" indent="-342900">
              <a:buFont typeface="Arial" panose="020B0604020202020204" pitchFamily="34" charset="0"/>
              <a:buChar char="•"/>
            </a:pPr>
            <a:r>
              <a:rPr lang="en-US"/>
              <a:t>Default attributes are aligned with the requirement from SGS, API Insight (TG46)</a:t>
            </a:r>
          </a:p>
          <a:p>
            <a:pPr marL="342900" indent="-342900">
              <a:buFont typeface="Arial" panose="020B0604020202020204" pitchFamily="34" charset="0"/>
              <a:buChar char="•"/>
            </a:pPr>
            <a:endParaRPr lang="en-US"/>
          </a:p>
        </p:txBody>
      </p:sp>
      <p:sp>
        <p:nvSpPr>
          <p:cNvPr id="6" name="Title 5">
            <a:extLst>
              <a:ext uri="{FF2B5EF4-FFF2-40B4-BE49-F238E27FC236}">
                <a16:creationId xmlns:a16="http://schemas.microsoft.com/office/drawing/2014/main" id="{99A4DFAF-5AEB-3E17-9A5D-844F12E392F4}"/>
              </a:ext>
            </a:extLst>
          </p:cNvPr>
          <p:cNvSpPr>
            <a:spLocks noGrp="1"/>
          </p:cNvSpPr>
          <p:nvPr>
            <p:ph type="title"/>
          </p:nvPr>
        </p:nvSpPr>
        <p:spPr/>
        <p:txBody>
          <a:bodyPr/>
          <a:lstStyle/>
          <a:p>
            <a:r>
              <a:rPr lang="en-US" sz="2400"/>
              <a:t>HTTP Access Logs Observability in SIEM Splunk</a:t>
            </a:r>
            <a:endParaRPr lang="en-US"/>
          </a:p>
        </p:txBody>
      </p:sp>
      <p:pic>
        <p:nvPicPr>
          <p:cNvPr id="7" name="Picture 6">
            <a:extLst>
              <a:ext uri="{FF2B5EF4-FFF2-40B4-BE49-F238E27FC236}">
                <a16:creationId xmlns:a16="http://schemas.microsoft.com/office/drawing/2014/main" id="{8912FD9C-37EB-81A0-504E-DED353374EE3}"/>
              </a:ext>
            </a:extLst>
          </p:cNvPr>
          <p:cNvPicPr>
            <a:picLocks noChangeAspect="1"/>
          </p:cNvPicPr>
          <p:nvPr/>
        </p:nvPicPr>
        <p:blipFill>
          <a:blip r:embed="rId2"/>
          <a:stretch>
            <a:fillRect/>
          </a:stretch>
        </p:blipFill>
        <p:spPr>
          <a:xfrm>
            <a:off x="4599991" y="2725138"/>
            <a:ext cx="7170676" cy="3806547"/>
          </a:xfrm>
          <a:prstGeom prst="rect">
            <a:avLst/>
          </a:prstGeom>
        </p:spPr>
      </p:pic>
      <p:pic>
        <p:nvPicPr>
          <p:cNvPr id="5" name="Picture 4">
            <a:extLst>
              <a:ext uri="{FF2B5EF4-FFF2-40B4-BE49-F238E27FC236}">
                <a16:creationId xmlns:a16="http://schemas.microsoft.com/office/drawing/2014/main" id="{9F9307CE-F77E-1901-0E78-940364C7AC25}"/>
              </a:ext>
            </a:extLst>
          </p:cNvPr>
          <p:cNvPicPr>
            <a:picLocks noChangeAspect="1"/>
          </p:cNvPicPr>
          <p:nvPr/>
        </p:nvPicPr>
        <p:blipFill>
          <a:blip r:embed="rId3"/>
          <a:stretch>
            <a:fillRect/>
          </a:stretch>
        </p:blipFill>
        <p:spPr>
          <a:xfrm>
            <a:off x="6512767" y="4025799"/>
            <a:ext cx="5580681" cy="2701571"/>
          </a:xfrm>
          <a:prstGeom prst="rect">
            <a:avLst/>
          </a:prstGeom>
        </p:spPr>
      </p:pic>
      <p:sp>
        <p:nvSpPr>
          <p:cNvPr id="13" name="TextBox 12">
            <a:extLst>
              <a:ext uri="{FF2B5EF4-FFF2-40B4-BE49-F238E27FC236}">
                <a16:creationId xmlns:a16="http://schemas.microsoft.com/office/drawing/2014/main" id="{23C29A64-FF8A-07A5-59F6-AAD24AF644A2}"/>
              </a:ext>
            </a:extLst>
          </p:cNvPr>
          <p:cNvSpPr txBox="1"/>
          <p:nvPr/>
        </p:nvSpPr>
        <p:spPr>
          <a:xfrm>
            <a:off x="424508" y="2721114"/>
            <a:ext cx="3852702" cy="1015663"/>
          </a:xfrm>
          <a:prstGeom prst="rect">
            <a:avLst/>
          </a:prstGeom>
          <a:noFill/>
        </p:spPr>
        <p:txBody>
          <a:bodyPr wrap="square">
            <a:spAutoFit/>
          </a:bodyPr>
          <a:lstStyle/>
          <a:p>
            <a:pPr marL="342900" marR="0" lvl="0" indent="-342900" algn="l" defTabSz="1088558" rtl="0" eaLnBrk="1" fontAlgn="auto" latinLnBrk="0" hangingPunct="1">
              <a:lnSpc>
                <a:spcPct val="100000"/>
              </a:lnSpc>
              <a:spcBef>
                <a:spcPts val="1800"/>
              </a:spcBef>
              <a:spcAft>
                <a:spcPts val="0"/>
              </a:spcAft>
              <a:buClr>
                <a:srgbClr val="F0AB00"/>
              </a:buClr>
              <a:buSzPct val="800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Access logs can be extended based on the UGW custom variables </a:t>
            </a:r>
          </a:p>
        </p:txBody>
      </p:sp>
      <p:sp>
        <p:nvSpPr>
          <p:cNvPr id="15" name="Action Button: Go Home 14">
            <a:hlinkClick r:id="rId4" action="ppaction://hlinksldjump" highlightClick="1"/>
            <a:extLst>
              <a:ext uri="{FF2B5EF4-FFF2-40B4-BE49-F238E27FC236}">
                <a16:creationId xmlns:a16="http://schemas.microsoft.com/office/drawing/2014/main" id="{017BC432-F823-0D46-4EC1-1D80278EC6F2}"/>
              </a:ext>
            </a:extLst>
          </p:cNvPr>
          <p:cNvSpPr/>
          <p:nvPr/>
        </p:nvSpPr>
        <p:spPr bwMode="gray">
          <a:xfrm>
            <a:off x="11597952" y="232751"/>
            <a:ext cx="324856" cy="289249"/>
          </a:xfrm>
          <a:prstGeom prst="actionButtonHome">
            <a:avLst/>
          </a:prstGeom>
          <a:ln>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771943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D2FDD9C-ABDC-39D2-1967-6B46A03AFBAE}"/>
              </a:ext>
            </a:extLst>
          </p:cNvPr>
          <p:cNvSpPr>
            <a:spLocks noGrp="1"/>
          </p:cNvSpPr>
          <p:nvPr>
            <p:ph type="body" sz="quarter" idx="10"/>
          </p:nvPr>
        </p:nvSpPr>
        <p:spPr/>
        <p:txBody>
          <a:bodyPr>
            <a:normAutofit/>
          </a:bodyPr>
          <a:lstStyle/>
          <a:p>
            <a:pPr marL="342900" indent="-342900">
              <a:buFont typeface="Arial" panose="020B0604020202020204" pitchFamily="34" charset="0"/>
              <a:buChar char="•"/>
            </a:pPr>
            <a:r>
              <a:rPr lang="en-US"/>
              <a:t>Unified Gateway allows you to </a:t>
            </a:r>
            <a:r>
              <a:rPr lang="en-US" b="1"/>
              <a:t>control the traffic rate </a:t>
            </a:r>
            <a:r>
              <a:rPr lang="en-US"/>
              <a:t>routed to the upstream by configuring Rate Limit policies.</a:t>
            </a:r>
          </a:p>
          <a:p>
            <a:pPr marL="342900" indent="-342900">
              <a:buFont typeface="Arial" panose="020B0604020202020204" pitchFamily="34" charset="0"/>
              <a:buChar char="•"/>
            </a:pPr>
            <a:r>
              <a:rPr lang="en-US"/>
              <a:t>Rate-limit policies may include </a:t>
            </a:r>
            <a:r>
              <a:rPr lang="en-US" b="1"/>
              <a:t>multiple rate-limit rules </a:t>
            </a:r>
            <a:r>
              <a:rPr lang="en-US"/>
              <a:t>that defines the time window, threshold and counting attributes (Count by and filter by)</a:t>
            </a:r>
          </a:p>
          <a:p>
            <a:pPr marL="522864" lvl="1" indent="-342900">
              <a:buFont typeface="Arial" panose="020B0604020202020204" pitchFamily="34" charset="0"/>
              <a:buChar char="•"/>
            </a:pPr>
            <a:r>
              <a:rPr lang="en-US"/>
              <a:t>All defined rules coexist and will be considered by UGW</a:t>
            </a:r>
          </a:p>
          <a:p>
            <a:pPr marL="342900" indent="-342900">
              <a:buFont typeface="Arial" panose="020B0604020202020204" pitchFamily="34" charset="0"/>
              <a:buChar char="•"/>
            </a:pPr>
            <a:r>
              <a:rPr lang="en-US"/>
              <a:t>The rate limit policy can be configured on a </a:t>
            </a:r>
            <a:r>
              <a:rPr lang="en-US" b="1"/>
              <a:t>host level, </a:t>
            </a:r>
            <a:r>
              <a:rPr lang="en-US"/>
              <a:t>or on a </a:t>
            </a:r>
            <a:r>
              <a:rPr lang="en-US" b="1"/>
              <a:t>specific Route </a:t>
            </a:r>
            <a:r>
              <a:rPr lang="en-US"/>
              <a:t>(path or custom variable based)</a:t>
            </a:r>
          </a:p>
          <a:p>
            <a:pPr marL="342900" indent="-342900">
              <a:buFont typeface="Arial" panose="020B0604020202020204" pitchFamily="34" charset="0"/>
              <a:buChar char="•"/>
            </a:pPr>
            <a:r>
              <a:rPr lang="en-US"/>
              <a:t>UGW reports as part of the access log dedicated property related to the Rate limit calculation results: </a:t>
            </a:r>
          </a:p>
          <a:p>
            <a:pPr lvl="2" indent="0">
              <a:buNone/>
              <a:tabLst>
                <a:tab pos="354013" algn="l"/>
              </a:tabLst>
            </a:pPr>
            <a:r>
              <a:rPr lang="en-US" b="1" err="1">
                <a:solidFill>
                  <a:schemeClr val="accent3"/>
                </a:solidFill>
                <a:latin typeface="Splunk Platform Mono"/>
              </a:rPr>
              <a:t>R</a:t>
            </a:r>
            <a:r>
              <a:rPr lang="en-US" b="1" i="0" err="1">
                <a:solidFill>
                  <a:schemeClr val="accent3"/>
                </a:solidFill>
                <a:effectLst/>
                <a:latin typeface="Splunk Platform Mono"/>
              </a:rPr>
              <a:t>ateLimitLimit</a:t>
            </a:r>
            <a:r>
              <a:rPr lang="en-US" b="0" i="0">
                <a:solidFill>
                  <a:schemeClr val="accent3"/>
                </a:solidFill>
                <a:effectLst/>
                <a:latin typeface="Splunk Platform Mono"/>
              </a:rPr>
              <a:t>: 3000</a:t>
            </a:r>
            <a:br>
              <a:rPr lang="en-US">
                <a:solidFill>
                  <a:schemeClr val="accent3"/>
                </a:solidFill>
              </a:rPr>
            </a:br>
            <a:r>
              <a:rPr lang="en-US" b="1" err="1">
                <a:solidFill>
                  <a:schemeClr val="accent3"/>
                </a:solidFill>
                <a:latin typeface="Splunk Platform Mono"/>
              </a:rPr>
              <a:t>R</a:t>
            </a:r>
            <a:r>
              <a:rPr lang="en-US" b="1" i="0" err="1">
                <a:solidFill>
                  <a:schemeClr val="accent3"/>
                </a:solidFill>
                <a:effectLst/>
                <a:latin typeface="Splunk Platform Mono"/>
              </a:rPr>
              <a:t>ateLimitPolicy</a:t>
            </a:r>
            <a:r>
              <a:rPr lang="en-US" b="0" i="0">
                <a:solidFill>
                  <a:schemeClr val="accent3"/>
                </a:solidFill>
                <a:effectLst/>
                <a:latin typeface="Splunk Platform Mono"/>
              </a:rPr>
              <a:t>: 3000;w=1;r=global-rate-limit-</a:t>
            </a:r>
            <a:r>
              <a:rPr lang="en-US" b="0" i="0" err="1">
                <a:solidFill>
                  <a:schemeClr val="accent3"/>
                </a:solidFill>
                <a:effectLst/>
                <a:latin typeface="Splunk Platform Mono"/>
              </a:rPr>
              <a:t>policy.tenantBasedRL</a:t>
            </a:r>
            <a:br>
              <a:rPr lang="en-US">
                <a:solidFill>
                  <a:schemeClr val="accent3"/>
                </a:solidFill>
              </a:rPr>
            </a:br>
            <a:r>
              <a:rPr lang="en-US" b="1" i="0" err="1">
                <a:solidFill>
                  <a:schemeClr val="accent3"/>
                </a:solidFill>
                <a:effectLst/>
                <a:latin typeface="Splunk Platform Mono"/>
              </a:rPr>
              <a:t>RateLimitRemaining</a:t>
            </a:r>
            <a:r>
              <a:rPr lang="en-US" b="0" i="0">
                <a:solidFill>
                  <a:schemeClr val="accent3"/>
                </a:solidFill>
                <a:effectLst/>
                <a:latin typeface="Splunk Platform Mono"/>
              </a:rPr>
              <a:t>: 2997</a:t>
            </a:r>
            <a:br>
              <a:rPr lang="en-US">
                <a:solidFill>
                  <a:schemeClr val="accent3"/>
                </a:solidFill>
              </a:rPr>
            </a:br>
            <a:r>
              <a:rPr lang="en-US" b="1" i="0" err="1">
                <a:solidFill>
                  <a:schemeClr val="accent3"/>
                </a:solidFill>
                <a:effectLst/>
                <a:latin typeface="Splunk Platform Mono"/>
              </a:rPr>
              <a:t>RateLimitReset</a:t>
            </a:r>
            <a:r>
              <a:rPr lang="en-US" b="0" i="0">
                <a:solidFill>
                  <a:schemeClr val="accent3"/>
                </a:solidFill>
                <a:effectLst/>
                <a:latin typeface="Splunk Platform Mono"/>
              </a:rPr>
              <a:t>: 1</a:t>
            </a:r>
            <a:endParaRPr lang="en-US">
              <a:solidFill>
                <a:schemeClr val="accent3"/>
              </a:solidFill>
            </a:endParaRPr>
          </a:p>
          <a:p>
            <a:pPr marL="342900" indent="-342900">
              <a:buFont typeface="Arial" panose="020B0604020202020204" pitchFamily="34" charset="0"/>
              <a:buChar char="•"/>
            </a:pPr>
            <a:endParaRPr lang="en-US"/>
          </a:p>
        </p:txBody>
      </p:sp>
      <p:sp>
        <p:nvSpPr>
          <p:cNvPr id="4" name="Title 3">
            <a:extLst>
              <a:ext uri="{FF2B5EF4-FFF2-40B4-BE49-F238E27FC236}">
                <a16:creationId xmlns:a16="http://schemas.microsoft.com/office/drawing/2014/main" id="{A89B960E-F269-2A22-2F86-0B813114D846}"/>
              </a:ext>
            </a:extLst>
          </p:cNvPr>
          <p:cNvSpPr>
            <a:spLocks noGrp="1"/>
          </p:cNvSpPr>
          <p:nvPr>
            <p:ph type="title"/>
          </p:nvPr>
        </p:nvSpPr>
        <p:spPr/>
        <p:txBody>
          <a:bodyPr/>
          <a:lstStyle/>
          <a:p>
            <a:r>
              <a:rPr lang="en-US"/>
              <a:t>Rate Limit</a:t>
            </a:r>
          </a:p>
        </p:txBody>
      </p:sp>
      <p:sp>
        <p:nvSpPr>
          <p:cNvPr id="6" name="Action Button: Go Home 5">
            <a:hlinkClick r:id="rId3" action="ppaction://hlinksldjump" highlightClick="1"/>
            <a:extLst>
              <a:ext uri="{FF2B5EF4-FFF2-40B4-BE49-F238E27FC236}">
                <a16:creationId xmlns:a16="http://schemas.microsoft.com/office/drawing/2014/main" id="{52CB57FA-3BEA-C82A-94C2-706616F738CA}"/>
              </a:ext>
            </a:extLst>
          </p:cNvPr>
          <p:cNvSpPr/>
          <p:nvPr/>
        </p:nvSpPr>
        <p:spPr bwMode="gray">
          <a:xfrm>
            <a:off x="11597952" y="232751"/>
            <a:ext cx="324856" cy="289249"/>
          </a:xfrm>
          <a:prstGeom prst="actionButtonHome">
            <a:avLst/>
          </a:prstGeom>
          <a:ln>
            <a:headEnd/>
            <a:tailEnd/>
          </a:ln>
        </p:spPr>
        <p:style>
          <a:lnRef idx="2">
            <a:schemeClr val="accent3"/>
          </a:lnRef>
          <a:fillRef idx="1">
            <a:schemeClr val="lt1"/>
          </a:fillRef>
          <a:effectRef idx="0">
            <a:schemeClr val="accent3"/>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361200156"/>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heme/theme1.xml><?xml version="1.0" encoding="utf-8"?>
<a:theme xmlns:a="http://schemas.openxmlformats.org/drawingml/2006/main" name="SAP 2020 16x9 black and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3" id="{2759F55F-9655-F44D-AC38-82A7F69451EF}" vid="{66416A57-6A8D-5548-9C9C-6C4AEE389818}"/>
    </a:ext>
  </a:extLst>
</a:theme>
</file>

<file path=ppt/theme/theme2.xml><?xml version="1.0" encoding="utf-8"?>
<a:theme xmlns:a="http://schemas.openxmlformats.org/drawingml/2006/main" name="SAP 2020 16x9 blue">
  <a:themeElements>
    <a:clrScheme name="SAP_Colors2018 - blue">
      <a:dk1>
        <a:srgbClr val="00195A"/>
      </a:dk1>
      <a:lt1>
        <a:srgbClr val="FFFFFF"/>
      </a:lt1>
      <a:dk2>
        <a:srgbClr val="CCCCCC"/>
      </a:dk2>
      <a:lt2>
        <a:srgbClr val="999999"/>
      </a:lt2>
      <a:accent1>
        <a:srgbClr val="F0AB00"/>
      </a:accent1>
      <a:accent2>
        <a:srgbClr val="666666"/>
      </a:accent2>
      <a:accent3>
        <a:srgbClr val="0076CB"/>
      </a:accent3>
      <a:accent4>
        <a:srgbClr val="4FB81C"/>
      </a:accent4>
      <a:accent5>
        <a:srgbClr val="E35500"/>
      </a:accent5>
      <a:accent6>
        <a:srgbClr val="760A85"/>
      </a:accent6>
      <a:hlink>
        <a:srgbClr val="0076CB"/>
      </a:hlink>
      <a:folHlink>
        <a:srgbClr val="0076CB"/>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3" id="{2759F55F-9655-F44D-AC38-82A7F69451EF}" vid="{9B826BC2-1039-B345-8215-482EBCE709AE}"/>
    </a:ext>
  </a:extLst>
</a:theme>
</file>

<file path=ppt/theme/theme3.xml><?xml version="1.0" encoding="utf-8"?>
<a:theme xmlns:a="http://schemas.openxmlformats.org/drawingml/2006/main" name="SAP Template 2023">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6" id="{6EE3CE7A-E618-354C-A911-C8B540FBF846}" vid="{D6A1CD9D-FAE1-404C-ADBB-39144CF68697}"/>
    </a:ext>
  </a:extLst>
</a:theme>
</file>

<file path=ppt/theme/theme4.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601535100A2A04CAB6CEB917925B7A7" ma:contentTypeVersion="19" ma:contentTypeDescription="Create a new document." ma:contentTypeScope="" ma:versionID="4d570d0e57855e14645c937383a989a6">
  <xsd:schema xmlns:xsd="http://www.w3.org/2001/XMLSchema" xmlns:xs="http://www.w3.org/2001/XMLSchema" xmlns:p="http://schemas.microsoft.com/office/2006/metadata/properties" xmlns:ns2="394b1d81-6381-41b4-9e3d-b653377335e2" xmlns:ns3="f99f8307-4c38-488b-a792-50fd03853b96" targetNamespace="http://schemas.microsoft.com/office/2006/metadata/properties" ma:root="true" ma:fieldsID="a672707b59edeb722c4cc2abcfcb7933" ns2:_="" ns3:_="">
    <xsd:import namespace="394b1d81-6381-41b4-9e3d-b653377335e2"/>
    <xsd:import namespace="f99f8307-4c38-488b-a792-50fd03853b9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_Flow_SignoffStatus"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4b1d81-6381-41b4-9e3d-b653377335e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_Flow_SignoffStatus" ma:index="20" nillable="true" ma:displayName="Sign-off status" ma:internalName="Sign_x002d_off_x0020_status">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7b3fb9d-ee0a-40a8-bd42-4026b75186d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Location" ma:index="25" nillable="true" ma:displayName="Location" ma:indexed="true" ma:internalName="MediaServiceLocation"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99f8307-4c38-488b-a792-50fd03853b9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fad29c50-e4b6-484a-b5d8-d28f7c860dfa}" ma:internalName="TaxCatchAll" ma:showField="CatchAllData" ma:web="f99f8307-4c38-488b-a792-50fd03853b9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99f8307-4c38-488b-a792-50fd03853b96">
      <UserInfo>
        <DisplayName>Zubev, Alexander</DisplayName>
        <AccountId>805</AccountId>
        <AccountType/>
      </UserInfo>
      <UserInfo>
        <DisplayName>Dycus, Daniel</DisplayName>
        <AccountId>586</AccountId>
        <AccountType/>
      </UserInfo>
      <UserInfo>
        <DisplayName>Ziegler, Carsten</DisplayName>
        <AccountId>108</AccountId>
        <AccountType/>
      </UserInfo>
      <UserInfo>
        <DisplayName>Kol, Nir M</DisplayName>
        <AccountId>399</AccountId>
        <AccountType/>
      </UserInfo>
      <UserInfo>
        <DisplayName>Lifchuk, Yariv</DisplayName>
        <AccountId>754</AccountId>
        <AccountType/>
      </UserInfo>
      <UserInfo>
        <DisplayName>von Mitschke-Collande, Danny</DisplayName>
        <AccountId>5551</AccountId>
        <AccountType/>
      </UserInfo>
      <UserInfo>
        <DisplayName>Lieber, Rakefet</DisplayName>
        <AccountId>435</AccountId>
        <AccountType/>
      </UserInfo>
      <UserInfo>
        <DisplayName>Tsirulnik, Boris</DisplayName>
        <AccountId>4771</AccountId>
        <AccountType/>
      </UserInfo>
      <UserInfo>
        <DisplayName>Troy, Jacob</DisplayName>
        <AccountId>98</AccountId>
        <AccountType/>
      </UserInfo>
      <UserInfo>
        <DisplayName>Hill, Barclay</DisplayName>
        <AccountId>438</AccountId>
        <AccountType/>
      </UserInfo>
      <UserInfo>
        <DisplayName>Toth, Maik</DisplayName>
        <AccountId>3224</AccountId>
        <AccountType/>
      </UserInfo>
      <UserInfo>
        <DisplayName>Azuri, Eliran</DisplayName>
        <AccountId>4881</AccountId>
        <AccountType/>
      </UserInfo>
      <UserInfo>
        <DisplayName>Menahem, Tamir</DisplayName>
        <AccountId>755</AccountId>
        <AccountType/>
      </UserInfo>
      <UserInfo>
        <DisplayName>Heilbrunn, Benjamin</DisplayName>
        <AccountId>16</AccountId>
        <AccountType/>
      </UserInfo>
      <UserInfo>
        <DisplayName>Kumar, Santosh</DisplayName>
        <AccountId>642</AccountId>
        <AccountType/>
      </UserInfo>
      <UserInfo>
        <DisplayName>Navon, Ohad</DisplayName>
        <AccountId>2570</AccountId>
        <AccountType/>
      </UserInfo>
      <UserInfo>
        <DisplayName>Huppert, Andreas</DisplayName>
        <AccountId>4054</AccountId>
        <AccountType/>
      </UserInfo>
      <UserInfo>
        <DisplayName>Kopp, Semjon</DisplayName>
        <AccountId>3313</AccountId>
        <AccountType/>
      </UserInfo>
      <UserInfo>
        <DisplayName>Schoenberger, Niklas</DisplayName>
        <AccountId>4410</AccountId>
        <AccountType/>
      </UserInfo>
      <UserInfo>
        <DisplayName>Nayak, Shiva</DisplayName>
        <AccountId>1484</AccountId>
        <AccountType/>
      </UserInfo>
      <UserInfo>
        <DisplayName>Lal, Sunil</DisplayName>
        <AccountId>5920</AccountId>
        <AccountType/>
      </UserInfo>
      <UserInfo>
        <DisplayName>Loebel, Andreas</DisplayName>
        <AccountId>114</AccountId>
        <AccountType/>
      </UserInfo>
      <UserInfo>
        <DisplayName>Klemenz, Oliver</DisplayName>
        <AccountId>892</AccountId>
        <AccountType/>
      </UserInfo>
      <UserInfo>
        <DisplayName>Schuele, Timon</DisplayName>
        <AccountId>4489</AccountId>
        <AccountType/>
      </UserInfo>
      <UserInfo>
        <DisplayName>Chadha, Gaurav</DisplayName>
        <AccountId>6047</AccountId>
        <AccountType/>
      </UserInfo>
      <UserInfo>
        <DisplayName>Theissen, Heiko</DisplayName>
        <AccountId>2284</AccountId>
        <AccountType/>
      </UserInfo>
      <UserInfo>
        <DisplayName>Semerdzhiev, Krasimir</DisplayName>
        <AccountId>31</AccountId>
        <AccountType/>
      </UserInfo>
      <UserInfo>
        <DisplayName>Mitu, Corneliu</DisplayName>
        <AccountId>36</AccountId>
        <AccountType/>
      </UserInfo>
      <UserInfo>
        <DisplayName>Dickgiesser, Klaus</DisplayName>
        <AccountId>4225</AccountId>
        <AccountType/>
      </UserInfo>
      <UserInfo>
        <DisplayName>Beyer, Bertram</DisplayName>
        <AccountId>2506</AccountId>
        <AccountType/>
      </UserInfo>
      <UserInfo>
        <DisplayName>Bieser, Thomas</DisplayName>
        <AccountId>134</AccountId>
        <AccountType/>
      </UserInfo>
      <UserInfo>
        <DisplayName>Sahoo, Chitta Ranjan</DisplayName>
        <AccountId>4179</AccountId>
        <AccountType/>
      </UserInfo>
      <UserInfo>
        <DisplayName>Kostyra, Philipp</DisplayName>
        <AccountId>62</AccountId>
        <AccountType/>
      </UserInfo>
      <UserInfo>
        <DisplayName>Pasumurty, Arun Kumar</DisplayName>
        <AccountId>8357</AccountId>
        <AccountType/>
      </UserInfo>
      <UserInfo>
        <DisplayName>M S, Anand</DisplayName>
        <AccountId>1323</AccountId>
        <AccountType/>
      </UserInfo>
      <UserInfo>
        <DisplayName>Subramanian, Karthikeyan</DisplayName>
        <AccountId>1361</AccountId>
        <AccountType/>
      </UserInfo>
      <UserInfo>
        <DisplayName>Schulzke, Erich</DisplayName>
        <AccountId>2697</AccountId>
        <AccountType/>
      </UserInfo>
      <UserInfo>
        <DisplayName>Boeder, Jochen</DisplayName>
        <AccountId>1384</AccountId>
        <AccountType/>
      </UserInfo>
      <UserInfo>
        <DisplayName>Agrawal, Trapti</DisplayName>
        <AccountId>5677</AccountId>
        <AccountType/>
      </UserInfo>
      <UserInfo>
        <DisplayName>Stein, Tobias</DisplayName>
        <AccountId>1021</AccountId>
        <AccountType/>
      </UserInfo>
      <UserInfo>
        <DisplayName>Dhalani, Perkash</DisplayName>
        <AccountId>687</AccountId>
        <AccountType/>
      </UserInfo>
      <UserInfo>
        <DisplayName>Stolzenberger, Tobias</DisplayName>
        <AccountId>5528</AccountId>
        <AccountType/>
      </UserInfo>
      <UserInfo>
        <DisplayName>Elizabeth, Lincy Thankachan</DisplayName>
        <AccountId>2549</AccountId>
        <AccountType/>
      </UserInfo>
      <UserInfo>
        <DisplayName>Stotz, Philipp</DisplayName>
        <AccountId>2698</AccountId>
        <AccountType/>
      </UserInfo>
      <UserInfo>
        <DisplayName>Wussow, Alexander</DisplayName>
        <AccountId>989</AccountId>
        <AccountType/>
      </UserInfo>
      <UserInfo>
        <DisplayName>Sattler, Wolfgang</DisplayName>
        <AccountId>2821</AccountId>
        <AccountType/>
      </UserInfo>
      <UserInfo>
        <DisplayName>Kuntke, Oliver</DisplayName>
        <AccountId>14723</AccountId>
        <AccountType/>
      </UserInfo>
      <UserInfo>
        <DisplayName>Sandor, Lorand</DisplayName>
        <AccountId>3091</AccountId>
        <AccountType/>
      </UserInfo>
      <UserInfo>
        <DisplayName>Knoch, Hans-Dieter</DisplayName>
        <AccountId>1654</AccountId>
        <AccountType/>
      </UserInfo>
      <UserInfo>
        <DisplayName>POIROT, Gilles</DisplayName>
        <AccountId>4359</AccountId>
        <AccountType/>
      </UserInfo>
      <UserInfo>
        <DisplayName>Bondili, Vinod Kumar Singh</DisplayName>
        <AccountId>2694</AccountId>
        <AccountType/>
      </UserInfo>
      <UserInfo>
        <DisplayName>Hoffmann, Frank Oliver</DisplayName>
        <AccountId>1046</AccountId>
        <AccountType/>
      </UserInfo>
      <UserInfo>
        <DisplayName>Diebold, Clemens</DisplayName>
        <AccountId>7275</AccountId>
        <AccountType/>
      </UserInfo>
      <UserInfo>
        <DisplayName>Erdelmeier, Martin</DisplayName>
        <AccountId>691</AccountId>
        <AccountType/>
      </UserInfo>
      <UserInfo>
        <DisplayName>WALTERTHUM, Luc</DisplayName>
        <AccountId>30</AccountId>
        <AccountType/>
      </UserInfo>
      <UserInfo>
        <DisplayName>Tielsch, Gregor</DisplayName>
        <AccountId>334</AccountId>
        <AccountType/>
      </UserInfo>
      <UserInfo>
        <DisplayName>Huang, Clark</DisplayName>
        <AccountId>14724</AccountId>
        <AccountType/>
      </UserInfo>
      <UserInfo>
        <DisplayName>Srivastava, Garima</DisplayName>
        <AccountId>2423</AccountId>
        <AccountType/>
      </UserInfo>
      <UserInfo>
        <DisplayName>Hellmann, Martin</DisplayName>
        <AccountId>721</AccountId>
        <AccountType/>
      </UserInfo>
      <UserInfo>
        <DisplayName>TROMPETTE, Christophe</DisplayName>
        <AccountId>14725</AccountId>
        <AccountType/>
      </UserInfo>
      <UserInfo>
        <DisplayName>LE MASSON, Yann</DisplayName>
        <AccountId>7365</AccountId>
        <AccountType/>
      </UserInfo>
      <UserInfo>
        <DisplayName>Wenzler, Rudolf</DisplayName>
        <AccountId>7176</AccountId>
        <AccountType/>
      </UserInfo>
      <UserInfo>
        <DisplayName>Pahlke-Lerch, Christoph</DisplayName>
        <AccountId>2144</AccountId>
        <AccountType/>
      </UserInfo>
      <UserInfo>
        <DisplayName>Gabsdil, Malte</DisplayName>
        <AccountId>1512</AccountId>
        <AccountType/>
      </UserInfo>
      <UserInfo>
        <DisplayName>Cao, Justin</DisplayName>
        <AccountId>14726</AccountId>
        <AccountType/>
      </UserInfo>
      <UserInfo>
        <DisplayName>Patidar, Dilip</DisplayName>
        <AccountId>3053</AccountId>
        <AccountType/>
      </UserInfo>
      <UserInfo>
        <DisplayName>Theis, Lukas</DisplayName>
        <AccountId>9499</AccountId>
        <AccountType/>
      </UserInfo>
      <UserInfo>
        <DisplayName>Bundschuh, Doris</DisplayName>
        <AccountId>5502</AccountId>
        <AccountType/>
      </UserInfo>
      <UserInfo>
        <DisplayName>Roth, Paul</DisplayName>
        <AccountId>93</AccountId>
        <AccountType/>
      </UserInfo>
      <UserInfo>
        <DisplayName>Kiefer, Ralph</DisplayName>
        <AccountId>2192</AccountId>
        <AccountType/>
      </UserInfo>
      <UserInfo>
        <DisplayName>Haeuptle, Klaus</DisplayName>
        <AccountId>1473</AccountId>
        <AccountType/>
      </UserInfo>
      <UserInfo>
        <DisplayName>Wolujewicz, Robert</DisplayName>
        <AccountId>896</AccountId>
        <AccountType/>
      </UserInfo>
      <UserInfo>
        <DisplayName>Balasubramaniam, Lakshminarayanan</DisplayName>
        <AccountId>4605</AccountId>
        <AccountType/>
      </UserInfo>
      <UserInfo>
        <DisplayName>Haller, Patrick</DisplayName>
        <AccountId>4273</AccountId>
        <AccountType/>
      </UserInfo>
      <UserInfo>
        <DisplayName>Kasiraj, Venkatesh</DisplayName>
        <AccountId>7838</AccountId>
        <AccountType/>
      </UserInfo>
      <UserInfo>
        <DisplayName>POULLAIN, Valerie</DisplayName>
        <AccountId>4266</AccountId>
        <AccountType/>
      </UserInfo>
      <UserInfo>
        <DisplayName>Krishnamurthy, Sundaresan</DisplayName>
        <AccountId>804</AccountId>
        <AccountType/>
      </UserInfo>
      <UserInfo>
        <DisplayName>Nayak, Anasuya</DisplayName>
        <AccountId>2927</AccountId>
        <AccountType/>
      </UserInfo>
      <UserInfo>
        <DisplayName>Sabessane, Pugazhendi</DisplayName>
        <AccountId>2926</AccountId>
        <AccountType/>
      </UserInfo>
      <UserInfo>
        <DisplayName>Ivanov, Stanimir</DisplayName>
        <AccountId>1321</AccountId>
        <AccountType/>
      </UserInfo>
      <UserInfo>
        <DisplayName>Shi, Kiven</DisplayName>
        <AccountId>14727</AccountId>
        <AccountType/>
      </UserInfo>
      <UserInfo>
        <DisplayName>Salis, Halil Can</DisplayName>
        <AccountId>13139</AccountId>
        <AccountType/>
      </UserInfo>
      <UserInfo>
        <DisplayName>Breuer, Jonas</DisplayName>
        <AccountId>3570</AccountId>
        <AccountType/>
      </UserInfo>
      <UserInfo>
        <DisplayName>Toebben, Stephan</DisplayName>
        <AccountId>2898</AccountId>
        <AccountType/>
      </UserInfo>
      <UserInfo>
        <DisplayName>POLAT, Ebru</DisplayName>
        <AccountId>3739</AccountId>
        <AccountType/>
      </UserInfo>
      <UserInfo>
        <DisplayName>HG, Karthik</DisplayName>
        <AccountId>10131</AccountId>
        <AccountType/>
      </UserInfo>
      <UserInfo>
        <DisplayName>Hempfing, Dennis</DisplayName>
        <AccountId>2206</AccountId>
        <AccountType/>
      </UserInfo>
      <UserInfo>
        <DisplayName>B, Vadivelan</DisplayName>
        <AccountId>6979</AccountId>
        <AccountType/>
      </UserInfo>
      <UserInfo>
        <DisplayName>Li, Lukas</DisplayName>
        <AccountId>14728</AccountId>
        <AccountType/>
      </UserInfo>
      <UserInfo>
        <DisplayName>Braun, Maximilian</DisplayName>
        <AccountId>3026</AccountId>
        <AccountType/>
      </UserInfo>
      <UserInfo>
        <DisplayName>Anandakumar, Vishnu</DisplayName>
        <AccountId>9420</AccountId>
        <AccountType/>
      </UserInfo>
      <UserInfo>
        <DisplayName>Troeger, Stefan</DisplayName>
        <AccountId>425</AccountId>
        <AccountType/>
      </UserInfo>
      <UserInfo>
        <DisplayName>Stark, Max</DisplayName>
        <AccountId>10908</AccountId>
        <AccountType/>
      </UserInfo>
      <UserInfo>
        <DisplayName>Chandrasekhara, Vasu</DisplayName>
        <AccountId>466</AccountId>
        <AccountType/>
      </UserInfo>
      <UserInfo>
        <DisplayName>Trukhin, Yevgen</DisplayName>
        <AccountId>2853</AccountId>
        <AccountType/>
      </UserInfo>
      <UserInfo>
        <DisplayName>Theilmann, Wolfgang</DisplayName>
        <AccountId>925</AccountId>
        <AccountType/>
      </UserInfo>
      <UserInfo>
        <DisplayName>Alapati, Ranjit</DisplayName>
        <AccountId>4220</AccountId>
        <AccountType/>
      </UserInfo>
      <UserInfo>
        <DisplayName>Schmid, Martin</DisplayName>
        <AccountId>434</AccountId>
        <AccountType/>
      </UserInfo>
      <UserInfo>
        <DisplayName>Dobbs, Brendan</DisplayName>
        <AccountId>697</AccountId>
        <AccountType/>
      </UserInfo>
      <UserInfo>
        <DisplayName>Schmitz, Raphael</DisplayName>
        <AccountId>1621</AccountId>
        <AccountType/>
      </UserInfo>
      <UserInfo>
        <DisplayName>Khullar, Vipul</DisplayName>
        <AccountId>10586</AccountId>
        <AccountType/>
      </UserInfo>
      <UserInfo>
        <DisplayName>Herrmanns, Klaus</DisplayName>
        <AccountId>622</AccountId>
        <AccountType/>
      </UserInfo>
      <UserInfo>
        <DisplayName>Held, Mathias</DisplayName>
        <AccountId>14562</AccountId>
        <AccountType/>
      </UserInfo>
      <UserInfo>
        <DisplayName>Vaithianathan, Vinoth Kumar</DisplayName>
        <AccountId>1788</AccountId>
        <AccountType/>
      </UserInfo>
      <UserInfo>
        <DisplayName>Belger, Ralf</DisplayName>
        <AccountId>130</AccountId>
        <AccountType/>
      </UserInfo>
      <UserInfo>
        <DisplayName>Sprengel, Martin</DisplayName>
        <AccountId>812</AccountId>
        <AccountType/>
      </UserInfo>
      <UserInfo>
        <DisplayName>Stein, Thomas</DisplayName>
        <AccountId>3609</AccountId>
        <AccountType/>
      </UserInfo>
      <UserInfo>
        <DisplayName>Reiner, Robert</DisplayName>
        <AccountId>6990</AccountId>
        <AccountType/>
      </UserInfo>
      <UserInfo>
        <DisplayName>Arjunagi, Girish</DisplayName>
        <AccountId>14729</AccountId>
        <AccountType/>
      </UserInfo>
      <UserInfo>
        <DisplayName>Noor, Syed Aleemuddin</DisplayName>
        <AccountId>3498</AccountId>
        <AccountType/>
      </UserInfo>
      <UserInfo>
        <DisplayName>Hoerisch, Michael</DisplayName>
        <AccountId>468</AccountId>
        <AccountType/>
      </UserInfo>
      <UserInfo>
        <DisplayName>Titov, Andrej</DisplayName>
        <AccountId>4102</AccountId>
        <AccountType/>
      </UserInfo>
      <UserInfo>
        <DisplayName>Zahariev, Dobromir</DisplayName>
        <AccountId>6782</AccountId>
        <AccountType/>
      </UserInfo>
      <UserInfo>
        <DisplayName>Lisges, Ralph</DisplayName>
        <AccountId>2000</AccountId>
        <AccountType/>
      </UserInfo>
      <UserInfo>
        <DisplayName>Sahihi Benis, Mohammad</DisplayName>
        <AccountId>14730</AccountId>
        <AccountType/>
      </UserInfo>
      <UserInfo>
        <DisplayName>Ristic, Filip</DisplayName>
        <AccountId>8587</AccountId>
        <AccountType/>
      </UserInfo>
      <UserInfo>
        <DisplayName>Sharma, Amit</DisplayName>
        <AccountId>6432</AccountId>
        <AccountType/>
      </UserInfo>
      <UserInfo>
        <DisplayName>Saini, Hiti</DisplayName>
        <AccountId>14731</AccountId>
        <AccountType/>
      </UserInfo>
      <UserInfo>
        <DisplayName>POMMIER, Laurent</DisplayName>
        <AccountId>811</AccountId>
        <AccountType/>
      </UserInfo>
      <UserInfo>
        <DisplayName>Himmel, Thorsten</DisplayName>
        <AccountId>939</AccountId>
        <AccountType/>
      </UserInfo>
      <UserInfo>
        <DisplayName>Zietzschmann, Mathias</DisplayName>
        <AccountId>4448</AccountId>
        <AccountType/>
      </UserInfo>
      <UserInfo>
        <DisplayName>Huber, Valentin</DisplayName>
        <AccountId>10133</AccountId>
        <AccountType/>
      </UserInfo>
      <UserInfo>
        <DisplayName>Lindner, Wolfgang</DisplayName>
        <AccountId>7185</AccountId>
        <AccountType/>
      </UserInfo>
      <UserInfo>
        <DisplayName>Demund, Johannes</DisplayName>
        <AccountId>5271</AccountId>
        <AccountType/>
      </UserInfo>
      <UserInfo>
        <DisplayName>Zhou, Hunter</DisplayName>
        <AccountId>1929</AccountId>
        <AccountType/>
      </UserInfo>
      <UserInfo>
        <DisplayName>Yin, Henry</DisplayName>
        <AccountId>2163</AccountId>
        <AccountType/>
      </UserInfo>
      <UserInfo>
        <DisplayName>Petrova, Rumiana</DisplayName>
        <AccountId>3514</AccountId>
        <AccountType/>
      </UserInfo>
      <UserInfo>
        <DisplayName>H S, Vinay</DisplayName>
        <AccountId>1215</AccountId>
        <AccountType/>
      </UserInfo>
      <UserInfo>
        <DisplayName>Moser, Gerd</DisplayName>
        <AccountId>8724</AccountId>
        <AccountType/>
      </UserInfo>
      <UserInfo>
        <DisplayName>Thiele, Christopher</DisplayName>
        <AccountId>2886</AccountId>
        <AccountType/>
      </UserInfo>
      <UserInfo>
        <DisplayName>Gowda, Kumaraswamy</DisplayName>
        <AccountId>5498</AccountId>
        <AccountType/>
      </UserInfo>
      <UserInfo>
        <DisplayName>Arundi, Naveen</DisplayName>
        <AccountId>11061</AccountId>
        <AccountType/>
      </UserInfo>
      <UserInfo>
        <DisplayName>Petkov, Vasil</DisplayName>
        <AccountId>13466</AccountId>
        <AccountType/>
      </UserInfo>
      <UserInfo>
        <DisplayName>Wang, Fan</DisplayName>
        <AccountId>11591</AccountId>
        <AccountType/>
      </UserInfo>
      <UserInfo>
        <DisplayName>Groch, Andreas</DisplayName>
        <AccountId>14732</AccountId>
        <AccountType/>
      </UserInfo>
      <UserInfo>
        <DisplayName>Ziyauddin, Mohammed</DisplayName>
        <AccountId>7251</AccountId>
        <AccountType/>
      </UserInfo>
      <UserInfo>
        <DisplayName>Chatterjee, Ritwik</DisplayName>
        <AccountId>1868</AccountId>
        <AccountType/>
      </UserInfo>
      <UserInfo>
        <DisplayName>Mruthyunjaya, Shashidhar Satya</DisplayName>
        <AccountId>14733</AccountId>
        <AccountType/>
      </UserInfo>
      <UserInfo>
        <DisplayName>Yummadisingh, Basava Rajesh</DisplayName>
        <AccountId>10947</AccountId>
        <AccountType/>
      </UserInfo>
      <UserInfo>
        <DisplayName>P, Swathi</DisplayName>
        <AccountId>7252</AccountId>
        <AccountType/>
      </UserInfo>
      <UserInfo>
        <DisplayName>Shah, Gaurish</DisplayName>
        <AccountId>10982</AccountId>
        <AccountType/>
      </UserInfo>
      <UserInfo>
        <DisplayName>Upadhyay, Sparsh</DisplayName>
        <AccountId>10981</AccountId>
        <AccountType/>
      </UserInfo>
      <UserInfo>
        <DisplayName>Reyzenkind, Evgeny</DisplayName>
        <AccountId>14734</AccountId>
        <AccountType/>
      </UserInfo>
      <UserInfo>
        <DisplayName>Sergieieva, Kateryna</DisplayName>
        <AccountId>14735</AccountId>
        <AccountType/>
      </UserInfo>
      <UserInfo>
        <DisplayName>Neugebauer, Frank</DisplayName>
        <AccountId>12976</AccountId>
        <AccountType/>
      </UserInfo>
      <UserInfo>
        <DisplayName>Chaudhary, Vinay</DisplayName>
        <AccountId>9219</AccountId>
        <AccountType/>
      </UserInfo>
      <UserInfo>
        <DisplayName>Kapoor, Aditya</DisplayName>
        <AccountId>2356</AccountId>
        <AccountType/>
      </UserInfo>
      <UserInfo>
        <DisplayName>Haefele, Julian</DisplayName>
        <AccountId>180</AccountId>
        <AccountType/>
      </UserInfo>
      <UserInfo>
        <DisplayName>Hoursanov, Andrey</DisplayName>
        <AccountId>13084</AccountId>
        <AccountType/>
      </UserInfo>
      <UserInfo>
        <DisplayName>Rauch, David</DisplayName>
        <AccountId>13299</AccountId>
        <AccountType/>
      </UserInfo>
      <UserInfo>
        <DisplayName>Kleis, Wolfram</DisplayName>
        <AccountId>657</AccountId>
        <AccountType/>
      </UserInfo>
      <UserInfo>
        <DisplayName>Rajasekar, Manikandan</DisplayName>
        <AccountId>690</AccountId>
        <AccountType/>
      </UserInfo>
      <UserInfo>
        <DisplayName>Rothermel, Andrea</DisplayName>
        <AccountId>14739</AccountId>
        <AccountType/>
      </UserInfo>
      <UserInfo>
        <DisplayName>Duchovskaja, Vera</DisplayName>
        <AccountId>14740</AccountId>
        <AccountType/>
      </UserInfo>
      <UserInfo>
        <DisplayName>Schultheiss, Rebekka</DisplayName>
        <AccountId>14741</AccountId>
        <AccountType/>
      </UserInfo>
      <UserInfo>
        <DisplayName>Kohlmaier, Christian</DisplayName>
        <AccountId>14742</AccountId>
        <AccountType/>
      </UserInfo>
      <UserInfo>
        <DisplayName>UDAYA KUMAR, RAKSHA</DisplayName>
        <AccountId>14743</AccountId>
        <AccountType/>
      </UserInfo>
      <UserInfo>
        <DisplayName>Schader, Isabel</DisplayName>
        <AccountId>8076</AccountId>
        <AccountType/>
      </UserInfo>
      <UserInfo>
        <DisplayName>Vippagunta, Anilkumar</DisplayName>
        <AccountId>654</AccountId>
        <AccountType/>
      </UserInfo>
      <UserInfo>
        <DisplayName>John, Hazel Shefali</DisplayName>
        <AccountId>14526</AccountId>
        <AccountType/>
      </UserInfo>
      <UserInfo>
        <DisplayName>Sinha, Akash</DisplayName>
        <AccountId>12826</AccountId>
        <AccountType/>
      </UserInfo>
    </SharedWithUsers>
    <_Flow_SignoffStatus xmlns="394b1d81-6381-41b4-9e3d-b653377335e2" xsi:nil="true"/>
    <lcf76f155ced4ddcb4097134ff3c332f xmlns="394b1d81-6381-41b4-9e3d-b653377335e2">
      <Terms xmlns="http://schemas.microsoft.com/office/infopath/2007/PartnerControls"/>
    </lcf76f155ced4ddcb4097134ff3c332f>
    <TaxCatchAll xmlns="f99f8307-4c38-488b-a792-50fd03853b96" xsi:nil="true"/>
  </documentManagement>
</p:properties>
</file>

<file path=customXml/itemProps1.xml><?xml version="1.0" encoding="utf-8"?>
<ds:datastoreItem xmlns:ds="http://schemas.openxmlformats.org/officeDocument/2006/customXml" ds:itemID="{D40C118F-75EF-470A-A3E2-80544252055E}">
  <ds:schemaRefs>
    <ds:schemaRef ds:uri="394b1d81-6381-41b4-9e3d-b653377335e2"/>
    <ds:schemaRef ds:uri="f99f8307-4c38-488b-a792-50fd03853b9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EF0C37F-D208-4664-A9CF-56BBA80949B0}">
  <ds:schemaRefs>
    <ds:schemaRef ds:uri="http://schemas.microsoft.com/sharepoint/v3/contenttype/forms"/>
  </ds:schemaRefs>
</ds:datastoreItem>
</file>

<file path=customXml/itemProps3.xml><?xml version="1.0" encoding="utf-8"?>
<ds:datastoreItem xmlns:ds="http://schemas.openxmlformats.org/officeDocument/2006/customXml" ds:itemID="{6E6B4A0B-BB5C-4092-B7EC-487355C442A9}">
  <ds:schemaRefs>
    <ds:schemaRef ds:uri="http://purl.org/dc/dcmitype/"/>
    <ds:schemaRef ds:uri="http://schemas.openxmlformats.org/package/2006/metadata/core-properties"/>
    <ds:schemaRef ds:uri="http://www.w3.org/XML/1998/namespace"/>
    <ds:schemaRef ds:uri="http://purl.org/dc/terms/"/>
    <ds:schemaRef ds:uri="f99f8307-4c38-488b-a792-50fd03853b96"/>
    <ds:schemaRef ds:uri="http://schemas.microsoft.com/office/2006/documentManagement/types"/>
    <ds:schemaRef ds:uri="http://purl.org/dc/elements/1.1/"/>
    <ds:schemaRef ds:uri="http://schemas.microsoft.com/office/2006/metadata/properties"/>
    <ds:schemaRef ds:uri="http://schemas.microsoft.com/office/infopath/2007/PartnerControls"/>
    <ds:schemaRef ds:uri="394b1d81-6381-41b4-9e3d-b653377335e2"/>
  </ds:schemaRefs>
</ds:datastoreItem>
</file>

<file path=docMetadata/LabelInfo.xml><?xml version="1.0" encoding="utf-8"?>
<clbl:labelList xmlns:clbl="http://schemas.microsoft.com/office/2020/mipLabelMetadata">
  <clbl:label id="{42f7676c-f455-423c-82f6-dc2d99791af7}" enabled="0" method="" siteId="{42f7676c-f455-423c-82f6-dc2d99791af7}" removed="1"/>
</clbl:labelList>
</file>

<file path=docProps/app.xml><?xml version="1.0" encoding="utf-8"?>
<Properties xmlns="http://schemas.openxmlformats.org/officeDocument/2006/extended-properties" xmlns:vt="http://schemas.openxmlformats.org/officeDocument/2006/docPropsVTypes">
  <Template>SAP 2020 16x9 black and white</Template>
  <TotalTime>1</TotalTime>
  <Words>2695</Words>
  <Application>Microsoft Macintosh PowerPoint</Application>
  <PresentationFormat>Custom</PresentationFormat>
  <Paragraphs>375</Paragraphs>
  <Slides>28</Slides>
  <Notes>13</Notes>
  <HiddenSlides>1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46" baseType="lpstr">
      <vt:lpstr>Arial Unicode MS</vt:lpstr>
      <vt:lpstr>72</vt:lpstr>
      <vt:lpstr>72 Brand</vt:lpstr>
      <vt:lpstr>72 Brand Medium</vt:lpstr>
      <vt:lpstr>Aptos</vt:lpstr>
      <vt:lpstr>Arial</vt:lpstr>
      <vt:lpstr>Calibri</vt:lpstr>
      <vt:lpstr>Consolas</vt:lpstr>
      <vt:lpstr>Courier New</vt:lpstr>
      <vt:lpstr>Roboto</vt:lpstr>
      <vt:lpstr>Splunk Platform Mono</vt:lpstr>
      <vt:lpstr>Symbol</vt:lpstr>
      <vt:lpstr>Wingdings</vt:lpstr>
      <vt:lpstr>Wingdings</vt:lpstr>
      <vt:lpstr>SAP 2020 16x9 black and white</vt:lpstr>
      <vt:lpstr>SAP 2020 16x9 blue</vt:lpstr>
      <vt:lpstr>SAP Template 2023</vt:lpstr>
      <vt:lpstr>think-cell Slide</vt:lpstr>
      <vt:lpstr>Unified Gateway  Overview March 2025</vt:lpstr>
      <vt:lpstr>Agenda</vt:lpstr>
      <vt:lpstr>Unified Gateway (Technology Guidelines 45)</vt:lpstr>
      <vt:lpstr>UGW Service Status</vt:lpstr>
      <vt:lpstr>UGW Current Point of Present – 20 PoP (Updated: May 2025)</vt:lpstr>
      <vt:lpstr>UGW Current Features </vt:lpstr>
      <vt:lpstr>DNS, Certificate and Routing</vt:lpstr>
      <vt:lpstr>HTTP Access Logs Observability in SIEM Splunk</vt:lpstr>
      <vt:lpstr>Rate Limit</vt:lpstr>
      <vt:lpstr>UGW Potential Future Direction</vt:lpstr>
      <vt:lpstr>Unified Gateway Architecture</vt:lpstr>
      <vt:lpstr>Abstract System Architecture</vt:lpstr>
      <vt:lpstr>System Architecture</vt:lpstr>
      <vt:lpstr>Runtime (Critical Path)</vt:lpstr>
      <vt:lpstr>Edge HA (Redundancy)</vt:lpstr>
      <vt:lpstr>DNS and Certificate Management</vt:lpstr>
      <vt:lpstr>Rate Limiting</vt:lpstr>
      <vt:lpstr>UGW is workload Technology Stack Agnostic</vt:lpstr>
      <vt:lpstr>Cloud Foundry Integration</vt:lpstr>
      <vt:lpstr>CDN (Edge Computing)</vt:lpstr>
      <vt:lpstr>AI Gateway in Envoy Gateway</vt:lpstr>
      <vt:lpstr>AI Gateway – References</vt:lpstr>
      <vt:lpstr>Unified Gateway Onboarding kit</vt:lpstr>
      <vt:lpstr>Unified Gateway Configuration</vt:lpstr>
      <vt:lpstr>UGW Public Interface. Data Model (illustration only)</vt:lpstr>
      <vt:lpstr>Demo</vt:lpstr>
      <vt:lpstr>How to get help?</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mate 21 PoC Kickoff</dc:title>
  <dc:subject/>
  <dc:creator>Heilbrunn, Benjamin</dc:creator>
  <cp:keywords>2020/16:9/black and white</cp:keywords>
  <dc:description/>
  <cp:lastModifiedBy>Petrushchak, Alex</cp:lastModifiedBy>
  <cp:revision>2</cp:revision>
  <dcterms:created xsi:type="dcterms:W3CDTF">2020-06-17T10:45:48Z</dcterms:created>
  <dcterms:modified xsi:type="dcterms:W3CDTF">2025-05-15T13:38:4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101452479</vt:i4>
  </property>
  <property fmtid="{D5CDD505-2E9C-101B-9397-08002B2CF9AE}" pid="3" name="_NewReviewCycle">
    <vt:lpwstr/>
  </property>
  <property fmtid="{D5CDD505-2E9C-101B-9397-08002B2CF9AE}" pid="4" name="_EmailSubject">
    <vt:lpwstr>SAP - PPT Exploration (Updated)</vt:lpwstr>
  </property>
  <property fmtid="{D5CDD505-2E9C-101B-9397-08002B2CF9AE}" pid="5" name="_AuthorEmail">
    <vt:lpwstr>heidi.bitz@sap.com</vt:lpwstr>
  </property>
  <property fmtid="{D5CDD505-2E9C-101B-9397-08002B2CF9AE}" pid="6" name="_AuthorEmailDisplayName">
    <vt:lpwstr>Bitz, Heidi</vt:lpwstr>
  </property>
  <property fmtid="{D5CDD505-2E9C-101B-9397-08002B2CF9AE}" pid="7" name="_PreviousAdHocReviewCycleID">
    <vt:i4>1357826825</vt:i4>
  </property>
  <property fmtid="{D5CDD505-2E9C-101B-9397-08002B2CF9AE}" pid="8" name="ContentTypeId">
    <vt:lpwstr>0x010100E601535100A2A04CAB6CEB917925B7A7</vt:lpwstr>
  </property>
  <property fmtid="{D5CDD505-2E9C-101B-9397-08002B2CF9AE}" pid="9" name="MediaServiceImageTags">
    <vt:lpwstr/>
  </property>
</Properties>
</file>